
<file path=[Content_Types].xml><?xml version="1.0" encoding="utf-8"?>
<Types xmlns="http://schemas.openxmlformats.org/package/2006/content-types">
  <Default Extension="png" ContentType="image/png"/>
  <Default Extension="m4a" ContentType="audio/mp4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43"/>
  </p:notesMasterIdLst>
  <p:sldIdLst>
    <p:sldId id="383" r:id="rId2"/>
    <p:sldId id="326" r:id="rId3"/>
    <p:sldId id="329" r:id="rId4"/>
    <p:sldId id="314" r:id="rId5"/>
    <p:sldId id="301" r:id="rId6"/>
    <p:sldId id="302" r:id="rId7"/>
    <p:sldId id="325" r:id="rId8"/>
    <p:sldId id="330" r:id="rId9"/>
    <p:sldId id="354" r:id="rId10"/>
    <p:sldId id="367" r:id="rId11"/>
    <p:sldId id="331" r:id="rId12"/>
    <p:sldId id="332" r:id="rId13"/>
    <p:sldId id="333" r:id="rId14"/>
    <p:sldId id="337" r:id="rId15"/>
    <p:sldId id="338" r:id="rId16"/>
    <p:sldId id="339" r:id="rId17"/>
    <p:sldId id="342" r:id="rId18"/>
    <p:sldId id="344" r:id="rId19"/>
    <p:sldId id="345" r:id="rId20"/>
    <p:sldId id="346" r:id="rId21"/>
    <p:sldId id="347" r:id="rId22"/>
    <p:sldId id="348" r:id="rId23"/>
    <p:sldId id="349" r:id="rId24"/>
    <p:sldId id="350" r:id="rId25"/>
    <p:sldId id="353" r:id="rId26"/>
    <p:sldId id="355" r:id="rId27"/>
    <p:sldId id="356" r:id="rId28"/>
    <p:sldId id="357" r:id="rId29"/>
    <p:sldId id="364" r:id="rId30"/>
    <p:sldId id="384" r:id="rId31"/>
    <p:sldId id="365" r:id="rId32"/>
    <p:sldId id="360" r:id="rId33"/>
    <p:sldId id="361" r:id="rId34"/>
    <p:sldId id="385" r:id="rId35"/>
    <p:sldId id="386" r:id="rId36"/>
    <p:sldId id="378" r:id="rId37"/>
    <p:sldId id="370" r:id="rId38"/>
    <p:sldId id="379" r:id="rId39"/>
    <p:sldId id="380" r:id="rId40"/>
    <p:sldId id="381" r:id="rId41"/>
    <p:sldId id="382" r:id="rId4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E62AF"/>
    <a:srgbClr val="5A93B6"/>
    <a:srgbClr val="646FA6"/>
    <a:srgbClr val="FFFFFF"/>
    <a:srgbClr val="FFFC04"/>
    <a:srgbClr val="DECD59"/>
    <a:srgbClr val="FFF500"/>
    <a:srgbClr val="D9EFF8"/>
    <a:srgbClr val="F1F7FB"/>
    <a:srgbClr val="DDCC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50" autoAdjust="0"/>
    <p:restoredTop sz="94660"/>
  </p:normalViewPr>
  <p:slideViewPr>
    <p:cSldViewPr snapToGrid="0">
      <p:cViewPr varScale="1">
        <p:scale>
          <a:sx n="75" d="100"/>
          <a:sy n="75" d="100"/>
        </p:scale>
        <p:origin x="16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3">
  <dgm:title val=""/>
  <dgm:desc val=""/>
  <dgm:catLst>
    <dgm:cat type="accent5" pri="11300"/>
  </dgm:catLst>
  <dgm:styleLbl name="node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>
        <a:shade val="80000"/>
      </a:schemeClr>
      <a:schemeClr val="accent5">
        <a:tint val="7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/>
    <dgm:txEffectClrLst/>
  </dgm:styleLbl>
  <dgm:styleLbl name="lnNode1">
    <dgm:fillClrLst>
      <a:schemeClr val="accent5">
        <a:shade val="80000"/>
      </a:schemeClr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shade val="80000"/>
        <a:alpha val="50000"/>
      </a:schemeClr>
      <a:schemeClr val="accent5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/>
    <dgm:txEffectClrLst/>
  </dgm:styleLbl>
  <dgm:styleLbl name="f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5">
        <a:shade val="90000"/>
      </a:schemeClr>
      <a:schemeClr val="accent5">
        <a:tint val="70000"/>
      </a:schemeClr>
    </dgm:fillClrLst>
    <dgm:linClrLst>
      <a:schemeClr val="accent5">
        <a:shade val="90000"/>
      </a:schemeClr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9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8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>
        <a:shade val="80000"/>
      </a:schemeClr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E42169-9536-4997-8CE0-AE87527DB07E}" type="doc">
      <dgm:prSet loTypeId="urn:microsoft.com/office/officeart/2005/8/layout/process1" loCatId="process" qsTypeId="urn:microsoft.com/office/officeart/2005/8/quickstyle/simple1" qsCatId="simple" csTypeId="urn:microsoft.com/office/officeart/2005/8/colors/colorful3" csCatId="colorful" phldr="1"/>
      <dgm:spPr/>
    </dgm:pt>
    <dgm:pt modelId="{C32EA7DA-E181-495C-9279-F7FA2B4FA396}">
      <dgm:prSet phldrT="[Texte]"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  <a:spcAft>
              <a:spcPts val="600"/>
            </a:spcAft>
          </a:pPr>
          <a:r>
            <a:rPr lang="fr-FR" altLang="fr-FR" dirty="0">
              <a:latin typeface="Arial" panose="020B0604020202020204" pitchFamily="34" charset="0"/>
              <a:cs typeface="Arial" panose="020B0604020202020204" pitchFamily="34" charset="0"/>
            </a:rPr>
            <a:t>Externalisation du Front Office de la NARSA auprès de ABB - BC</a:t>
          </a:r>
          <a:endParaRPr lang="fr-FR" dirty="0"/>
        </a:p>
      </dgm:t>
    </dgm:pt>
    <dgm:pt modelId="{9D5BE7E7-A672-4BA5-A903-614EE8757046}" type="parTrans" cxnId="{4802CCC7-8AF0-49C2-95B1-85F0DA960F8B}">
      <dgm:prSet/>
      <dgm:spPr/>
      <dgm:t>
        <a:bodyPr/>
        <a:lstStyle/>
        <a:p>
          <a:endParaRPr lang="fr-FR"/>
        </a:p>
      </dgm:t>
    </dgm:pt>
    <dgm:pt modelId="{11B473E1-ADE7-4580-BF7C-D02B7B0C6BED}" type="sibTrans" cxnId="{4802CCC7-8AF0-49C2-95B1-85F0DA960F8B}">
      <dgm:prSet/>
      <dgm:spPr/>
      <dgm:t>
        <a:bodyPr/>
        <a:lstStyle/>
        <a:p>
          <a:endParaRPr lang="fr-FR"/>
        </a:p>
      </dgm:t>
    </dgm:pt>
    <dgm:pt modelId="{CFFDE1E7-BB93-42E7-8D96-0BEB90155663}">
      <dgm:prSet phldrT="[Texte]"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  <a:spcAft>
              <a:spcPts val="600"/>
            </a:spcAft>
          </a:pP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Simplification et dématérialisation des procédures</a:t>
          </a:r>
          <a:endParaRPr lang="fr-FR" dirty="0"/>
        </a:p>
      </dgm:t>
    </dgm:pt>
    <dgm:pt modelId="{0A6F0061-090D-467B-80D5-EA9859D25DD5}" type="parTrans" cxnId="{635EC4C2-5E98-4E3A-9159-55F24D4F38FC}">
      <dgm:prSet/>
      <dgm:spPr/>
      <dgm:t>
        <a:bodyPr/>
        <a:lstStyle/>
        <a:p>
          <a:endParaRPr lang="fr-FR"/>
        </a:p>
      </dgm:t>
    </dgm:pt>
    <dgm:pt modelId="{C01FC332-CDB1-450C-95B8-ED78246FE13A}" type="sibTrans" cxnId="{635EC4C2-5E98-4E3A-9159-55F24D4F38FC}">
      <dgm:prSet/>
      <dgm:spPr/>
      <dgm:t>
        <a:bodyPr/>
        <a:lstStyle/>
        <a:p>
          <a:endParaRPr lang="fr-FR"/>
        </a:p>
      </dgm:t>
    </dgm:pt>
    <dgm:pt modelId="{6E46F49B-0830-45FD-AEDF-3A9828087FCA}">
      <dgm:prSet phldrT="[Texte]"/>
      <dgm:spPr/>
      <dgm:t>
        <a:bodyPr/>
        <a:lstStyle/>
        <a:p>
          <a:pPr>
            <a:lnSpc>
              <a:spcPct val="100000"/>
            </a:lnSpc>
            <a:spcBef>
              <a:spcPts val="600"/>
            </a:spcBef>
            <a:spcAft>
              <a:spcPts val="600"/>
            </a:spcAft>
          </a:pPr>
          <a:r>
            <a:rPr lang="fr-FR" dirty="0">
              <a:latin typeface="Arial" panose="020B0604020202020204" pitchFamily="34" charset="0"/>
              <a:cs typeface="Arial" panose="020B0604020202020204" pitchFamily="34" charset="0"/>
            </a:rPr>
            <a:t>Elargissement des points de contact à 800 agences au lieu de 75 CI</a:t>
          </a:r>
          <a:endParaRPr lang="fr-FR" dirty="0"/>
        </a:p>
      </dgm:t>
    </dgm:pt>
    <dgm:pt modelId="{54AC3D8A-D69E-4316-8040-1B757A8B96D1}" type="parTrans" cxnId="{016513F0-BED8-4ACA-863D-FBE8D1F27468}">
      <dgm:prSet/>
      <dgm:spPr/>
      <dgm:t>
        <a:bodyPr/>
        <a:lstStyle/>
        <a:p>
          <a:endParaRPr lang="fr-FR"/>
        </a:p>
      </dgm:t>
    </dgm:pt>
    <dgm:pt modelId="{91CBC3C7-2602-4FBE-875F-B5A205039CD9}" type="sibTrans" cxnId="{016513F0-BED8-4ACA-863D-FBE8D1F27468}">
      <dgm:prSet/>
      <dgm:spPr/>
      <dgm:t>
        <a:bodyPr/>
        <a:lstStyle/>
        <a:p>
          <a:endParaRPr lang="fr-FR"/>
        </a:p>
      </dgm:t>
    </dgm:pt>
    <dgm:pt modelId="{D27400C5-EF5E-4D27-99E1-17E5CF619343}" type="pres">
      <dgm:prSet presAssocID="{38E42169-9536-4997-8CE0-AE87527DB07E}" presName="Name0" presStyleCnt="0">
        <dgm:presLayoutVars>
          <dgm:dir/>
          <dgm:resizeHandles val="exact"/>
        </dgm:presLayoutVars>
      </dgm:prSet>
      <dgm:spPr/>
    </dgm:pt>
    <dgm:pt modelId="{7992FF4A-66C8-40FE-A406-E75438041D31}" type="pres">
      <dgm:prSet presAssocID="{C32EA7DA-E181-495C-9279-F7FA2B4FA396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58096A4-A505-4D68-8F5E-E48DC1F436B8}" type="pres">
      <dgm:prSet presAssocID="{11B473E1-ADE7-4580-BF7C-D02B7B0C6BED}" presName="sibTrans" presStyleLbl="sibTrans2D1" presStyleIdx="0" presStyleCnt="2"/>
      <dgm:spPr/>
      <dgm:t>
        <a:bodyPr/>
        <a:lstStyle/>
        <a:p>
          <a:endParaRPr lang="fr-FR"/>
        </a:p>
      </dgm:t>
    </dgm:pt>
    <dgm:pt modelId="{53BE8122-88A3-496E-A48B-4A302AB5C1FE}" type="pres">
      <dgm:prSet presAssocID="{11B473E1-ADE7-4580-BF7C-D02B7B0C6BED}" presName="connectorText" presStyleLbl="sibTrans2D1" presStyleIdx="0" presStyleCnt="2"/>
      <dgm:spPr/>
      <dgm:t>
        <a:bodyPr/>
        <a:lstStyle/>
        <a:p>
          <a:endParaRPr lang="fr-FR"/>
        </a:p>
      </dgm:t>
    </dgm:pt>
    <dgm:pt modelId="{AEC9B9DB-6CB4-42A9-A857-216C6FC839CC}" type="pres">
      <dgm:prSet presAssocID="{CFFDE1E7-BB93-42E7-8D96-0BEB90155663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37D43C7-374C-4C3C-AF56-95F4908F97CF}" type="pres">
      <dgm:prSet presAssocID="{C01FC332-CDB1-450C-95B8-ED78246FE13A}" presName="sibTrans" presStyleLbl="sibTrans2D1" presStyleIdx="1" presStyleCnt="2"/>
      <dgm:spPr/>
      <dgm:t>
        <a:bodyPr/>
        <a:lstStyle/>
        <a:p>
          <a:endParaRPr lang="fr-FR"/>
        </a:p>
      </dgm:t>
    </dgm:pt>
    <dgm:pt modelId="{A5B542F1-B63D-4803-9009-BFCE740FAD5A}" type="pres">
      <dgm:prSet presAssocID="{C01FC332-CDB1-450C-95B8-ED78246FE13A}" presName="connectorText" presStyleLbl="sibTrans2D1" presStyleIdx="1" presStyleCnt="2"/>
      <dgm:spPr/>
      <dgm:t>
        <a:bodyPr/>
        <a:lstStyle/>
        <a:p>
          <a:endParaRPr lang="fr-FR"/>
        </a:p>
      </dgm:t>
    </dgm:pt>
    <dgm:pt modelId="{7662DDE5-53FB-40F5-AFA7-C741D55AF563}" type="pres">
      <dgm:prSet presAssocID="{6E46F49B-0830-45FD-AEDF-3A9828087FCA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223E2389-B302-42D0-8C7F-07D940D89AC2}" type="presOf" srcId="{C32EA7DA-E181-495C-9279-F7FA2B4FA396}" destId="{7992FF4A-66C8-40FE-A406-E75438041D31}" srcOrd="0" destOrd="0" presId="urn:microsoft.com/office/officeart/2005/8/layout/process1"/>
    <dgm:cxn modelId="{B3196D33-5891-49FD-BB78-F56D4A98D247}" type="presOf" srcId="{C01FC332-CDB1-450C-95B8-ED78246FE13A}" destId="{337D43C7-374C-4C3C-AF56-95F4908F97CF}" srcOrd="0" destOrd="0" presId="urn:microsoft.com/office/officeart/2005/8/layout/process1"/>
    <dgm:cxn modelId="{FFC3563F-1BE3-4AEB-8B64-3F2FF7C7ACD8}" type="presOf" srcId="{38E42169-9536-4997-8CE0-AE87527DB07E}" destId="{D27400C5-EF5E-4D27-99E1-17E5CF619343}" srcOrd="0" destOrd="0" presId="urn:microsoft.com/office/officeart/2005/8/layout/process1"/>
    <dgm:cxn modelId="{62EF374E-9122-4153-8C66-AABE2BBEA58C}" type="presOf" srcId="{11B473E1-ADE7-4580-BF7C-D02B7B0C6BED}" destId="{53BE8122-88A3-496E-A48B-4A302AB5C1FE}" srcOrd="1" destOrd="0" presId="urn:microsoft.com/office/officeart/2005/8/layout/process1"/>
    <dgm:cxn modelId="{0ED6C187-8FB8-409A-8AE1-35D2B6E80A5F}" type="presOf" srcId="{11B473E1-ADE7-4580-BF7C-D02B7B0C6BED}" destId="{D58096A4-A505-4D68-8F5E-E48DC1F436B8}" srcOrd="0" destOrd="0" presId="urn:microsoft.com/office/officeart/2005/8/layout/process1"/>
    <dgm:cxn modelId="{81ABFD9A-57EB-4D78-B31F-3DB1834D4F99}" type="presOf" srcId="{C01FC332-CDB1-450C-95B8-ED78246FE13A}" destId="{A5B542F1-B63D-4803-9009-BFCE740FAD5A}" srcOrd="1" destOrd="0" presId="urn:microsoft.com/office/officeart/2005/8/layout/process1"/>
    <dgm:cxn modelId="{8377FAC8-9320-4251-883A-D66A8CDBB9C8}" type="presOf" srcId="{CFFDE1E7-BB93-42E7-8D96-0BEB90155663}" destId="{AEC9B9DB-6CB4-42A9-A857-216C6FC839CC}" srcOrd="0" destOrd="0" presId="urn:microsoft.com/office/officeart/2005/8/layout/process1"/>
    <dgm:cxn modelId="{635EC4C2-5E98-4E3A-9159-55F24D4F38FC}" srcId="{38E42169-9536-4997-8CE0-AE87527DB07E}" destId="{CFFDE1E7-BB93-42E7-8D96-0BEB90155663}" srcOrd="1" destOrd="0" parTransId="{0A6F0061-090D-467B-80D5-EA9859D25DD5}" sibTransId="{C01FC332-CDB1-450C-95B8-ED78246FE13A}"/>
    <dgm:cxn modelId="{1E8AE5B2-F271-4C6E-A069-FFDA89613D16}" type="presOf" srcId="{6E46F49B-0830-45FD-AEDF-3A9828087FCA}" destId="{7662DDE5-53FB-40F5-AFA7-C741D55AF563}" srcOrd="0" destOrd="0" presId="urn:microsoft.com/office/officeart/2005/8/layout/process1"/>
    <dgm:cxn modelId="{016513F0-BED8-4ACA-863D-FBE8D1F27468}" srcId="{38E42169-9536-4997-8CE0-AE87527DB07E}" destId="{6E46F49B-0830-45FD-AEDF-3A9828087FCA}" srcOrd="2" destOrd="0" parTransId="{54AC3D8A-D69E-4316-8040-1B757A8B96D1}" sibTransId="{91CBC3C7-2602-4FBE-875F-B5A205039CD9}"/>
    <dgm:cxn modelId="{4802CCC7-8AF0-49C2-95B1-85F0DA960F8B}" srcId="{38E42169-9536-4997-8CE0-AE87527DB07E}" destId="{C32EA7DA-E181-495C-9279-F7FA2B4FA396}" srcOrd="0" destOrd="0" parTransId="{9D5BE7E7-A672-4BA5-A903-614EE8757046}" sibTransId="{11B473E1-ADE7-4580-BF7C-D02B7B0C6BED}"/>
    <dgm:cxn modelId="{51F6F07D-76AC-40E1-B328-A5EE99239C82}" type="presParOf" srcId="{D27400C5-EF5E-4D27-99E1-17E5CF619343}" destId="{7992FF4A-66C8-40FE-A406-E75438041D31}" srcOrd="0" destOrd="0" presId="urn:microsoft.com/office/officeart/2005/8/layout/process1"/>
    <dgm:cxn modelId="{06DCACEB-111D-4978-B091-1F99C318B1FC}" type="presParOf" srcId="{D27400C5-EF5E-4D27-99E1-17E5CF619343}" destId="{D58096A4-A505-4D68-8F5E-E48DC1F436B8}" srcOrd="1" destOrd="0" presId="urn:microsoft.com/office/officeart/2005/8/layout/process1"/>
    <dgm:cxn modelId="{B46E2C59-34D1-44C0-A11D-6976F5390E06}" type="presParOf" srcId="{D58096A4-A505-4D68-8F5E-E48DC1F436B8}" destId="{53BE8122-88A3-496E-A48B-4A302AB5C1FE}" srcOrd="0" destOrd="0" presId="urn:microsoft.com/office/officeart/2005/8/layout/process1"/>
    <dgm:cxn modelId="{ED94D8AB-EE18-4116-BF1A-07DB82F88EDB}" type="presParOf" srcId="{D27400C5-EF5E-4D27-99E1-17E5CF619343}" destId="{AEC9B9DB-6CB4-42A9-A857-216C6FC839CC}" srcOrd="2" destOrd="0" presId="urn:microsoft.com/office/officeart/2005/8/layout/process1"/>
    <dgm:cxn modelId="{76D90BBA-D441-4614-95A8-A234D0CCE77A}" type="presParOf" srcId="{D27400C5-EF5E-4D27-99E1-17E5CF619343}" destId="{337D43C7-374C-4C3C-AF56-95F4908F97CF}" srcOrd="3" destOrd="0" presId="urn:microsoft.com/office/officeart/2005/8/layout/process1"/>
    <dgm:cxn modelId="{C1D9ABC0-0549-412C-86B0-70B2FF9DE002}" type="presParOf" srcId="{337D43C7-374C-4C3C-AF56-95F4908F97CF}" destId="{A5B542F1-B63D-4803-9009-BFCE740FAD5A}" srcOrd="0" destOrd="0" presId="urn:microsoft.com/office/officeart/2005/8/layout/process1"/>
    <dgm:cxn modelId="{B87EC8A4-C2C4-4D84-B835-8C2E787416CF}" type="presParOf" srcId="{D27400C5-EF5E-4D27-99E1-17E5CF619343}" destId="{7662DDE5-53FB-40F5-AFA7-C741D55AF563}" srcOrd="4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66F2BD5-55E5-4FC6-89EB-ABCDD8DA6C21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fr-FR"/>
        </a:p>
      </dgm:t>
    </dgm:pt>
    <dgm:pt modelId="{42713A69-9536-456E-B535-41ABCB85212B}">
      <dgm:prSet phldrT="[Texte]" custT="1"/>
      <dgm:spPr/>
      <dgm:t>
        <a:bodyPr/>
        <a:lstStyle/>
        <a:p>
          <a:r>
            <a:rPr lang="fr-FR" sz="2000" b="1" dirty="0">
              <a:latin typeface="Garamond" panose="02020404030301010803" pitchFamily="18" charset="0"/>
            </a:rPr>
            <a:t>Déclaration de vente</a:t>
          </a:r>
        </a:p>
      </dgm:t>
    </dgm:pt>
    <dgm:pt modelId="{56E111FF-6639-456E-A1E2-A4CB3EBAC4DA}" type="parTrans" cxnId="{E35535F0-E3B0-4405-AF13-B7B055161F9F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3F23F1BE-9A40-4898-AEAA-21135EC65E6A}" type="sibTrans" cxnId="{E35535F0-E3B0-4405-AF13-B7B055161F9F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D59F99BA-FBDE-4776-A20D-359AB6643050}">
      <dgm:prSet phldrT="[Texte]" custT="1"/>
      <dgm:spPr/>
      <dgm:t>
        <a:bodyPr/>
        <a:lstStyle/>
        <a:p>
          <a:r>
            <a:rPr lang="fr-FR" sz="2000" b="1" dirty="0">
              <a:latin typeface="Garamond" panose="02020404030301010803" pitchFamily="18" charset="0"/>
            </a:rPr>
            <a:t>Déclaration d’achat</a:t>
          </a:r>
        </a:p>
      </dgm:t>
    </dgm:pt>
    <dgm:pt modelId="{407296DA-5510-4D52-B5B9-613EFBB3F051}" type="parTrans" cxnId="{FFA11FA7-4249-4DC1-9A35-9109C8D61BA1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46450531-5080-4AA9-9F18-0CC343077BC6}" type="sibTrans" cxnId="{FFA11FA7-4249-4DC1-9A35-9109C8D61BA1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D997B30F-C9A5-4E15-A233-A4EF9D803E24}">
      <dgm:prSet phldrT="[Texte]" custT="1"/>
      <dgm:spPr/>
      <dgm:t>
        <a:bodyPr/>
        <a:lstStyle/>
        <a:p>
          <a:pPr rtl="0"/>
          <a:r>
            <a:rPr lang="fr-FR" sz="2000" b="1" dirty="0">
              <a:latin typeface="Garamond" panose="02020404030301010803" pitchFamily="18" charset="0"/>
            </a:rPr>
            <a:t>Dépôt de dossier</a:t>
          </a:r>
        </a:p>
      </dgm:t>
    </dgm:pt>
    <dgm:pt modelId="{2E878C88-40A0-4D5D-8285-BD81B00E5AA5}" type="parTrans" cxnId="{D321C69E-F820-45D2-A081-EF093AD8002E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3BB376BA-58F5-4547-9417-F001DF1F07EE}" type="sibTrans" cxnId="{D321C69E-F820-45D2-A081-EF093AD8002E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BDE6ED84-1E3E-4D4D-A0B9-973FAFBE4857}" type="pres">
      <dgm:prSet presAssocID="{A66F2BD5-55E5-4FC6-89EB-ABCDD8DA6C21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61F32671-06D1-4A33-A24D-9A8A60DBA18F}" type="pres">
      <dgm:prSet presAssocID="{42713A69-9536-456E-B535-41ABCB85212B}" presName="composite" presStyleCnt="0"/>
      <dgm:spPr/>
    </dgm:pt>
    <dgm:pt modelId="{1ABBCC1D-F983-4F37-A766-2EB6B2E6E57B}" type="pres">
      <dgm:prSet presAssocID="{42713A69-9536-456E-B535-41ABCB85212B}" presName="bentUpArrow1" presStyleLbl="alignImgPlace1" presStyleIdx="0" presStyleCnt="2"/>
      <dgm:spPr/>
    </dgm:pt>
    <dgm:pt modelId="{09405DD4-4D7A-4454-B6B3-2B956255F6B6}" type="pres">
      <dgm:prSet presAssocID="{42713A69-9536-456E-B535-41ABCB85212B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ACD0B8D-AD80-471F-AE66-9F192E4F0214}" type="pres">
      <dgm:prSet presAssocID="{42713A69-9536-456E-B535-41ABCB85212B}" presName="ChildText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D6D16F34-D3AC-4DBC-A31C-FE22E6E61DF4}" type="pres">
      <dgm:prSet presAssocID="{3F23F1BE-9A40-4898-AEAA-21135EC65E6A}" presName="sibTrans" presStyleCnt="0"/>
      <dgm:spPr/>
    </dgm:pt>
    <dgm:pt modelId="{1FEC8D27-D635-44C3-BEFF-7D33F69796CA}" type="pres">
      <dgm:prSet presAssocID="{D59F99BA-FBDE-4776-A20D-359AB6643050}" presName="composite" presStyleCnt="0"/>
      <dgm:spPr/>
    </dgm:pt>
    <dgm:pt modelId="{0891DCC2-D51F-495C-BC20-C7CE891CE269}" type="pres">
      <dgm:prSet presAssocID="{D59F99BA-FBDE-4776-A20D-359AB6643050}" presName="bentUpArrow1" presStyleLbl="alignImgPlace1" presStyleIdx="1" presStyleCnt="2"/>
      <dgm:spPr/>
    </dgm:pt>
    <dgm:pt modelId="{CF637D3E-87F0-4DEF-8416-1337062BB0F3}" type="pres">
      <dgm:prSet presAssocID="{D59F99BA-FBDE-4776-A20D-359AB6643050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6F7B04-D0BF-49EC-B5C2-D1F0FA812532}" type="pres">
      <dgm:prSet presAssocID="{D59F99BA-FBDE-4776-A20D-359AB6643050}" presName="ChildText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00186D80-06FD-4A1B-8ED7-BE046314E606}" type="pres">
      <dgm:prSet presAssocID="{46450531-5080-4AA9-9F18-0CC343077BC6}" presName="sibTrans" presStyleCnt="0"/>
      <dgm:spPr/>
    </dgm:pt>
    <dgm:pt modelId="{002CD286-4358-4498-9B70-C288A43E923A}" type="pres">
      <dgm:prSet presAssocID="{D997B30F-C9A5-4E15-A233-A4EF9D803E24}" presName="composite" presStyleCnt="0"/>
      <dgm:spPr/>
    </dgm:pt>
    <dgm:pt modelId="{BB8FBF50-7F88-41DF-916A-9DAA96CF7A51}" type="pres">
      <dgm:prSet presAssocID="{D997B30F-C9A5-4E15-A233-A4EF9D803E24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3B2585C-F5E4-4C1E-9CFF-CED8B2D98A1D}" type="presOf" srcId="{42713A69-9536-456E-B535-41ABCB85212B}" destId="{09405DD4-4D7A-4454-B6B3-2B956255F6B6}" srcOrd="0" destOrd="0" presId="urn:microsoft.com/office/officeart/2005/8/layout/StepDownProcess"/>
    <dgm:cxn modelId="{781E77E3-1A67-4E8E-A7A0-2A8981E8C87D}" type="presOf" srcId="{A66F2BD5-55E5-4FC6-89EB-ABCDD8DA6C21}" destId="{BDE6ED84-1E3E-4D4D-A0B9-973FAFBE4857}" srcOrd="0" destOrd="0" presId="urn:microsoft.com/office/officeart/2005/8/layout/StepDownProcess"/>
    <dgm:cxn modelId="{D321C69E-F820-45D2-A081-EF093AD8002E}" srcId="{A66F2BD5-55E5-4FC6-89EB-ABCDD8DA6C21}" destId="{D997B30F-C9A5-4E15-A233-A4EF9D803E24}" srcOrd="2" destOrd="0" parTransId="{2E878C88-40A0-4D5D-8285-BD81B00E5AA5}" sibTransId="{3BB376BA-58F5-4547-9417-F001DF1F07EE}"/>
    <dgm:cxn modelId="{9BA28CA4-FC6E-4C57-BFD5-83ABB8C5C344}" type="presOf" srcId="{D997B30F-C9A5-4E15-A233-A4EF9D803E24}" destId="{BB8FBF50-7F88-41DF-916A-9DAA96CF7A51}" srcOrd="0" destOrd="0" presId="urn:microsoft.com/office/officeart/2005/8/layout/StepDownProcess"/>
    <dgm:cxn modelId="{570A9C8B-C8BA-4781-9754-B9F614546559}" type="presOf" srcId="{D59F99BA-FBDE-4776-A20D-359AB6643050}" destId="{CF637D3E-87F0-4DEF-8416-1337062BB0F3}" srcOrd="0" destOrd="0" presId="urn:microsoft.com/office/officeart/2005/8/layout/StepDownProcess"/>
    <dgm:cxn modelId="{E35535F0-E3B0-4405-AF13-B7B055161F9F}" srcId="{A66F2BD5-55E5-4FC6-89EB-ABCDD8DA6C21}" destId="{42713A69-9536-456E-B535-41ABCB85212B}" srcOrd="0" destOrd="0" parTransId="{56E111FF-6639-456E-A1E2-A4CB3EBAC4DA}" sibTransId="{3F23F1BE-9A40-4898-AEAA-21135EC65E6A}"/>
    <dgm:cxn modelId="{FFA11FA7-4249-4DC1-9A35-9109C8D61BA1}" srcId="{A66F2BD5-55E5-4FC6-89EB-ABCDD8DA6C21}" destId="{D59F99BA-FBDE-4776-A20D-359AB6643050}" srcOrd="1" destOrd="0" parTransId="{407296DA-5510-4D52-B5B9-613EFBB3F051}" sibTransId="{46450531-5080-4AA9-9F18-0CC343077BC6}"/>
    <dgm:cxn modelId="{4E7BFC16-C139-4497-97F4-FB19C9F1FA50}" type="presParOf" srcId="{BDE6ED84-1E3E-4D4D-A0B9-973FAFBE4857}" destId="{61F32671-06D1-4A33-A24D-9A8A60DBA18F}" srcOrd="0" destOrd="0" presId="urn:microsoft.com/office/officeart/2005/8/layout/StepDownProcess"/>
    <dgm:cxn modelId="{B66F380E-F449-4FE5-B742-6F69332FE0B1}" type="presParOf" srcId="{61F32671-06D1-4A33-A24D-9A8A60DBA18F}" destId="{1ABBCC1D-F983-4F37-A766-2EB6B2E6E57B}" srcOrd="0" destOrd="0" presId="urn:microsoft.com/office/officeart/2005/8/layout/StepDownProcess"/>
    <dgm:cxn modelId="{8FB13609-F3DC-4E04-9E3F-86CB8045A168}" type="presParOf" srcId="{61F32671-06D1-4A33-A24D-9A8A60DBA18F}" destId="{09405DD4-4D7A-4454-B6B3-2B956255F6B6}" srcOrd="1" destOrd="0" presId="urn:microsoft.com/office/officeart/2005/8/layout/StepDownProcess"/>
    <dgm:cxn modelId="{17ECA23B-8620-4D14-9666-541EB36A2F33}" type="presParOf" srcId="{61F32671-06D1-4A33-A24D-9A8A60DBA18F}" destId="{DACD0B8D-AD80-471F-AE66-9F192E4F0214}" srcOrd="2" destOrd="0" presId="urn:microsoft.com/office/officeart/2005/8/layout/StepDownProcess"/>
    <dgm:cxn modelId="{E0FB1DDB-4ECA-4543-AFA5-7F0B8C6BBD04}" type="presParOf" srcId="{BDE6ED84-1E3E-4D4D-A0B9-973FAFBE4857}" destId="{D6D16F34-D3AC-4DBC-A31C-FE22E6E61DF4}" srcOrd="1" destOrd="0" presId="urn:microsoft.com/office/officeart/2005/8/layout/StepDownProcess"/>
    <dgm:cxn modelId="{D1F17F95-7E0D-48DB-9B79-6D4F50F2B209}" type="presParOf" srcId="{BDE6ED84-1E3E-4D4D-A0B9-973FAFBE4857}" destId="{1FEC8D27-D635-44C3-BEFF-7D33F69796CA}" srcOrd="2" destOrd="0" presId="urn:microsoft.com/office/officeart/2005/8/layout/StepDownProcess"/>
    <dgm:cxn modelId="{8A4D65F6-9D5B-49D8-9107-AE90648F14EF}" type="presParOf" srcId="{1FEC8D27-D635-44C3-BEFF-7D33F69796CA}" destId="{0891DCC2-D51F-495C-BC20-C7CE891CE269}" srcOrd="0" destOrd="0" presId="urn:microsoft.com/office/officeart/2005/8/layout/StepDownProcess"/>
    <dgm:cxn modelId="{84225518-A3CC-4BF7-9842-E7E05B3354EC}" type="presParOf" srcId="{1FEC8D27-D635-44C3-BEFF-7D33F69796CA}" destId="{CF637D3E-87F0-4DEF-8416-1337062BB0F3}" srcOrd="1" destOrd="0" presId="urn:microsoft.com/office/officeart/2005/8/layout/StepDownProcess"/>
    <dgm:cxn modelId="{B72888C4-706D-4F5B-90B7-ADD53F0258D9}" type="presParOf" srcId="{1FEC8D27-D635-44C3-BEFF-7D33F69796CA}" destId="{436F7B04-D0BF-49EC-B5C2-D1F0FA812532}" srcOrd="2" destOrd="0" presId="urn:microsoft.com/office/officeart/2005/8/layout/StepDownProcess"/>
    <dgm:cxn modelId="{BEB0CCD8-147A-4A15-A310-4674B4D85EB1}" type="presParOf" srcId="{BDE6ED84-1E3E-4D4D-A0B9-973FAFBE4857}" destId="{00186D80-06FD-4A1B-8ED7-BE046314E606}" srcOrd="3" destOrd="0" presId="urn:microsoft.com/office/officeart/2005/8/layout/StepDownProcess"/>
    <dgm:cxn modelId="{512516D7-CC57-4A99-8718-A3C7C1460606}" type="presParOf" srcId="{BDE6ED84-1E3E-4D4D-A0B9-973FAFBE4857}" destId="{002CD286-4358-4498-9B70-C288A43E923A}" srcOrd="4" destOrd="0" presId="urn:microsoft.com/office/officeart/2005/8/layout/StepDownProcess"/>
    <dgm:cxn modelId="{DDAFB9ED-FC23-47DA-91B8-A87D7F6B4C74}" type="presParOf" srcId="{002CD286-4358-4498-9B70-C288A43E923A}" destId="{BB8FBF50-7F88-41DF-916A-9DAA96CF7A51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66F2BD5-55E5-4FC6-89EB-ABCDD8DA6C21}" type="doc">
      <dgm:prSet loTypeId="urn:microsoft.com/office/officeart/2005/8/layout/StepDownProcess" loCatId="process" qsTypeId="urn:microsoft.com/office/officeart/2005/8/quickstyle/simple1" qsCatId="simple" csTypeId="urn:microsoft.com/office/officeart/2005/8/colors/accent5_3" csCatId="accent5" phldr="1"/>
      <dgm:spPr/>
      <dgm:t>
        <a:bodyPr/>
        <a:lstStyle/>
        <a:p>
          <a:endParaRPr lang="fr-FR"/>
        </a:p>
      </dgm:t>
    </dgm:pt>
    <dgm:pt modelId="{42713A69-9536-456E-B535-41ABCB85212B}">
      <dgm:prSet phldrT="[Texte]" custT="1"/>
      <dgm:spPr/>
      <dgm:t>
        <a:bodyPr/>
        <a:lstStyle/>
        <a:p>
          <a:r>
            <a:rPr lang="fr-FR" sz="2000" b="1" dirty="0">
              <a:latin typeface="Garamond" panose="02020404030301010803" pitchFamily="18" charset="0"/>
            </a:rPr>
            <a:t>Déclaration de vente</a:t>
          </a:r>
        </a:p>
      </dgm:t>
    </dgm:pt>
    <dgm:pt modelId="{56E111FF-6639-456E-A1E2-A4CB3EBAC4DA}" type="parTrans" cxnId="{E35535F0-E3B0-4405-AF13-B7B055161F9F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3F23F1BE-9A40-4898-AEAA-21135EC65E6A}" type="sibTrans" cxnId="{E35535F0-E3B0-4405-AF13-B7B055161F9F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D59F99BA-FBDE-4776-A20D-359AB6643050}">
      <dgm:prSet phldrT="[Texte]" custT="1"/>
      <dgm:spPr/>
      <dgm:t>
        <a:bodyPr/>
        <a:lstStyle/>
        <a:p>
          <a:r>
            <a:rPr lang="fr-FR" sz="2000" b="1" dirty="0">
              <a:latin typeface="Garamond" panose="02020404030301010803" pitchFamily="18" charset="0"/>
            </a:rPr>
            <a:t>Déclaration d’achat</a:t>
          </a:r>
        </a:p>
      </dgm:t>
    </dgm:pt>
    <dgm:pt modelId="{407296DA-5510-4D52-B5B9-613EFBB3F051}" type="parTrans" cxnId="{FFA11FA7-4249-4DC1-9A35-9109C8D61BA1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46450531-5080-4AA9-9F18-0CC343077BC6}" type="sibTrans" cxnId="{FFA11FA7-4249-4DC1-9A35-9109C8D61BA1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D997B30F-C9A5-4E15-A233-A4EF9D803E24}">
      <dgm:prSet phldrT="[Texte]" custT="1"/>
      <dgm:spPr/>
      <dgm:t>
        <a:bodyPr/>
        <a:lstStyle/>
        <a:p>
          <a:pPr rtl="0"/>
          <a:r>
            <a:rPr lang="fr-FR" sz="2000" b="1" dirty="0">
              <a:latin typeface="Garamond" panose="02020404030301010803" pitchFamily="18" charset="0"/>
            </a:rPr>
            <a:t>Dépôt de dossier</a:t>
          </a:r>
        </a:p>
      </dgm:t>
    </dgm:pt>
    <dgm:pt modelId="{2E878C88-40A0-4D5D-8285-BD81B00E5AA5}" type="parTrans" cxnId="{D321C69E-F820-45D2-A081-EF093AD8002E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3BB376BA-58F5-4547-9417-F001DF1F07EE}" type="sibTrans" cxnId="{D321C69E-F820-45D2-A081-EF093AD8002E}">
      <dgm:prSet/>
      <dgm:spPr/>
      <dgm:t>
        <a:bodyPr/>
        <a:lstStyle/>
        <a:p>
          <a:endParaRPr lang="fr-FR" sz="2000" b="1">
            <a:latin typeface="Garamond" panose="02020404030301010803" pitchFamily="18" charset="0"/>
          </a:endParaRPr>
        </a:p>
      </dgm:t>
    </dgm:pt>
    <dgm:pt modelId="{BDE6ED84-1E3E-4D4D-A0B9-973FAFBE4857}" type="pres">
      <dgm:prSet presAssocID="{A66F2BD5-55E5-4FC6-89EB-ABCDD8DA6C21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fr-FR"/>
        </a:p>
      </dgm:t>
    </dgm:pt>
    <dgm:pt modelId="{61F32671-06D1-4A33-A24D-9A8A60DBA18F}" type="pres">
      <dgm:prSet presAssocID="{42713A69-9536-456E-B535-41ABCB85212B}" presName="composite" presStyleCnt="0"/>
      <dgm:spPr/>
    </dgm:pt>
    <dgm:pt modelId="{1ABBCC1D-F983-4F37-A766-2EB6B2E6E57B}" type="pres">
      <dgm:prSet presAssocID="{42713A69-9536-456E-B535-41ABCB85212B}" presName="bentUpArrow1" presStyleLbl="alignImgPlace1" presStyleIdx="0" presStyleCnt="2"/>
      <dgm:spPr/>
    </dgm:pt>
    <dgm:pt modelId="{09405DD4-4D7A-4454-B6B3-2B956255F6B6}" type="pres">
      <dgm:prSet presAssocID="{42713A69-9536-456E-B535-41ABCB85212B}" presName="ParentText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ACD0B8D-AD80-471F-AE66-9F192E4F0214}" type="pres">
      <dgm:prSet presAssocID="{42713A69-9536-456E-B535-41ABCB85212B}" presName="ChildText" presStyleLbl="revTx" presStyleIdx="0" presStyleCnt="2">
        <dgm:presLayoutVars>
          <dgm:chMax val="0"/>
          <dgm:chPref val="0"/>
          <dgm:bulletEnabled val="1"/>
        </dgm:presLayoutVars>
      </dgm:prSet>
      <dgm:spPr/>
    </dgm:pt>
    <dgm:pt modelId="{D6D16F34-D3AC-4DBC-A31C-FE22E6E61DF4}" type="pres">
      <dgm:prSet presAssocID="{3F23F1BE-9A40-4898-AEAA-21135EC65E6A}" presName="sibTrans" presStyleCnt="0"/>
      <dgm:spPr/>
    </dgm:pt>
    <dgm:pt modelId="{1FEC8D27-D635-44C3-BEFF-7D33F69796CA}" type="pres">
      <dgm:prSet presAssocID="{D59F99BA-FBDE-4776-A20D-359AB6643050}" presName="composite" presStyleCnt="0"/>
      <dgm:spPr/>
    </dgm:pt>
    <dgm:pt modelId="{0891DCC2-D51F-495C-BC20-C7CE891CE269}" type="pres">
      <dgm:prSet presAssocID="{D59F99BA-FBDE-4776-A20D-359AB6643050}" presName="bentUpArrow1" presStyleLbl="alignImgPlace1" presStyleIdx="1" presStyleCnt="2"/>
      <dgm:spPr/>
    </dgm:pt>
    <dgm:pt modelId="{CF637D3E-87F0-4DEF-8416-1337062BB0F3}" type="pres">
      <dgm:prSet presAssocID="{D59F99BA-FBDE-4776-A20D-359AB6643050}" presName="ParentText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36F7B04-D0BF-49EC-B5C2-D1F0FA812532}" type="pres">
      <dgm:prSet presAssocID="{D59F99BA-FBDE-4776-A20D-359AB6643050}" presName="ChildText" presStyleLbl="revTx" presStyleIdx="1" presStyleCnt="2">
        <dgm:presLayoutVars>
          <dgm:chMax val="0"/>
          <dgm:chPref val="0"/>
          <dgm:bulletEnabled val="1"/>
        </dgm:presLayoutVars>
      </dgm:prSet>
      <dgm:spPr/>
    </dgm:pt>
    <dgm:pt modelId="{00186D80-06FD-4A1B-8ED7-BE046314E606}" type="pres">
      <dgm:prSet presAssocID="{46450531-5080-4AA9-9F18-0CC343077BC6}" presName="sibTrans" presStyleCnt="0"/>
      <dgm:spPr/>
    </dgm:pt>
    <dgm:pt modelId="{002CD286-4358-4498-9B70-C288A43E923A}" type="pres">
      <dgm:prSet presAssocID="{D997B30F-C9A5-4E15-A233-A4EF9D803E24}" presName="composite" presStyleCnt="0"/>
      <dgm:spPr/>
    </dgm:pt>
    <dgm:pt modelId="{BB8FBF50-7F88-41DF-916A-9DAA96CF7A51}" type="pres">
      <dgm:prSet presAssocID="{D997B30F-C9A5-4E15-A233-A4EF9D803E24}" presName="ParentText" presStyleLbl="node1" presStyleIdx="2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53B2585C-F5E4-4C1E-9CFF-CED8B2D98A1D}" type="presOf" srcId="{42713A69-9536-456E-B535-41ABCB85212B}" destId="{09405DD4-4D7A-4454-B6B3-2B956255F6B6}" srcOrd="0" destOrd="0" presId="urn:microsoft.com/office/officeart/2005/8/layout/StepDownProcess"/>
    <dgm:cxn modelId="{781E77E3-1A67-4E8E-A7A0-2A8981E8C87D}" type="presOf" srcId="{A66F2BD5-55E5-4FC6-89EB-ABCDD8DA6C21}" destId="{BDE6ED84-1E3E-4D4D-A0B9-973FAFBE4857}" srcOrd="0" destOrd="0" presId="urn:microsoft.com/office/officeart/2005/8/layout/StepDownProcess"/>
    <dgm:cxn modelId="{D321C69E-F820-45D2-A081-EF093AD8002E}" srcId="{A66F2BD5-55E5-4FC6-89EB-ABCDD8DA6C21}" destId="{D997B30F-C9A5-4E15-A233-A4EF9D803E24}" srcOrd="2" destOrd="0" parTransId="{2E878C88-40A0-4D5D-8285-BD81B00E5AA5}" sibTransId="{3BB376BA-58F5-4547-9417-F001DF1F07EE}"/>
    <dgm:cxn modelId="{9BA28CA4-FC6E-4C57-BFD5-83ABB8C5C344}" type="presOf" srcId="{D997B30F-C9A5-4E15-A233-A4EF9D803E24}" destId="{BB8FBF50-7F88-41DF-916A-9DAA96CF7A51}" srcOrd="0" destOrd="0" presId="urn:microsoft.com/office/officeart/2005/8/layout/StepDownProcess"/>
    <dgm:cxn modelId="{570A9C8B-C8BA-4781-9754-B9F614546559}" type="presOf" srcId="{D59F99BA-FBDE-4776-A20D-359AB6643050}" destId="{CF637D3E-87F0-4DEF-8416-1337062BB0F3}" srcOrd="0" destOrd="0" presId="urn:microsoft.com/office/officeart/2005/8/layout/StepDownProcess"/>
    <dgm:cxn modelId="{E35535F0-E3B0-4405-AF13-B7B055161F9F}" srcId="{A66F2BD5-55E5-4FC6-89EB-ABCDD8DA6C21}" destId="{42713A69-9536-456E-B535-41ABCB85212B}" srcOrd="0" destOrd="0" parTransId="{56E111FF-6639-456E-A1E2-A4CB3EBAC4DA}" sibTransId="{3F23F1BE-9A40-4898-AEAA-21135EC65E6A}"/>
    <dgm:cxn modelId="{FFA11FA7-4249-4DC1-9A35-9109C8D61BA1}" srcId="{A66F2BD5-55E5-4FC6-89EB-ABCDD8DA6C21}" destId="{D59F99BA-FBDE-4776-A20D-359AB6643050}" srcOrd="1" destOrd="0" parTransId="{407296DA-5510-4D52-B5B9-613EFBB3F051}" sibTransId="{46450531-5080-4AA9-9F18-0CC343077BC6}"/>
    <dgm:cxn modelId="{4E7BFC16-C139-4497-97F4-FB19C9F1FA50}" type="presParOf" srcId="{BDE6ED84-1E3E-4D4D-A0B9-973FAFBE4857}" destId="{61F32671-06D1-4A33-A24D-9A8A60DBA18F}" srcOrd="0" destOrd="0" presId="urn:microsoft.com/office/officeart/2005/8/layout/StepDownProcess"/>
    <dgm:cxn modelId="{B66F380E-F449-4FE5-B742-6F69332FE0B1}" type="presParOf" srcId="{61F32671-06D1-4A33-A24D-9A8A60DBA18F}" destId="{1ABBCC1D-F983-4F37-A766-2EB6B2E6E57B}" srcOrd="0" destOrd="0" presId="urn:microsoft.com/office/officeart/2005/8/layout/StepDownProcess"/>
    <dgm:cxn modelId="{8FB13609-F3DC-4E04-9E3F-86CB8045A168}" type="presParOf" srcId="{61F32671-06D1-4A33-A24D-9A8A60DBA18F}" destId="{09405DD4-4D7A-4454-B6B3-2B956255F6B6}" srcOrd="1" destOrd="0" presId="urn:microsoft.com/office/officeart/2005/8/layout/StepDownProcess"/>
    <dgm:cxn modelId="{17ECA23B-8620-4D14-9666-541EB36A2F33}" type="presParOf" srcId="{61F32671-06D1-4A33-A24D-9A8A60DBA18F}" destId="{DACD0B8D-AD80-471F-AE66-9F192E4F0214}" srcOrd="2" destOrd="0" presId="urn:microsoft.com/office/officeart/2005/8/layout/StepDownProcess"/>
    <dgm:cxn modelId="{E0FB1DDB-4ECA-4543-AFA5-7F0B8C6BBD04}" type="presParOf" srcId="{BDE6ED84-1E3E-4D4D-A0B9-973FAFBE4857}" destId="{D6D16F34-D3AC-4DBC-A31C-FE22E6E61DF4}" srcOrd="1" destOrd="0" presId="urn:microsoft.com/office/officeart/2005/8/layout/StepDownProcess"/>
    <dgm:cxn modelId="{D1F17F95-7E0D-48DB-9B79-6D4F50F2B209}" type="presParOf" srcId="{BDE6ED84-1E3E-4D4D-A0B9-973FAFBE4857}" destId="{1FEC8D27-D635-44C3-BEFF-7D33F69796CA}" srcOrd="2" destOrd="0" presId="urn:microsoft.com/office/officeart/2005/8/layout/StepDownProcess"/>
    <dgm:cxn modelId="{8A4D65F6-9D5B-49D8-9107-AE90648F14EF}" type="presParOf" srcId="{1FEC8D27-D635-44C3-BEFF-7D33F69796CA}" destId="{0891DCC2-D51F-495C-BC20-C7CE891CE269}" srcOrd="0" destOrd="0" presId="urn:microsoft.com/office/officeart/2005/8/layout/StepDownProcess"/>
    <dgm:cxn modelId="{84225518-A3CC-4BF7-9842-E7E05B3354EC}" type="presParOf" srcId="{1FEC8D27-D635-44C3-BEFF-7D33F69796CA}" destId="{CF637D3E-87F0-4DEF-8416-1337062BB0F3}" srcOrd="1" destOrd="0" presId="urn:microsoft.com/office/officeart/2005/8/layout/StepDownProcess"/>
    <dgm:cxn modelId="{B72888C4-706D-4F5B-90B7-ADD53F0258D9}" type="presParOf" srcId="{1FEC8D27-D635-44C3-BEFF-7D33F69796CA}" destId="{436F7B04-D0BF-49EC-B5C2-D1F0FA812532}" srcOrd="2" destOrd="0" presId="urn:microsoft.com/office/officeart/2005/8/layout/StepDownProcess"/>
    <dgm:cxn modelId="{BEB0CCD8-147A-4A15-A310-4674B4D85EB1}" type="presParOf" srcId="{BDE6ED84-1E3E-4D4D-A0B9-973FAFBE4857}" destId="{00186D80-06FD-4A1B-8ED7-BE046314E606}" srcOrd="3" destOrd="0" presId="urn:microsoft.com/office/officeart/2005/8/layout/StepDownProcess"/>
    <dgm:cxn modelId="{512516D7-CC57-4A99-8718-A3C7C1460606}" type="presParOf" srcId="{BDE6ED84-1E3E-4D4D-A0B9-973FAFBE4857}" destId="{002CD286-4358-4498-9B70-C288A43E923A}" srcOrd="4" destOrd="0" presId="urn:microsoft.com/office/officeart/2005/8/layout/StepDownProcess"/>
    <dgm:cxn modelId="{DDAFB9ED-FC23-47DA-91B8-A87D7F6B4C74}" type="presParOf" srcId="{002CD286-4358-4498-9B70-C288A43E923A}" destId="{BB8FBF50-7F88-41DF-916A-9DAA96CF7A51}" srcOrd="0" destOrd="0" presId="urn:microsoft.com/office/officeart/2005/8/layout/StepDown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F805002-A2B7-40F3-B822-9A6996D8C808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505CA7EF-947E-4FA8-BA2D-23A90BF2A27E}">
      <dgm:prSet phldrT="[Texte]" custT="1"/>
      <dgm:spPr/>
      <dgm:t>
        <a:bodyPr/>
        <a:lstStyle/>
        <a:p>
          <a:r>
            <a:rPr lang="fr-FR" sz="1800" b="0" i="0" dirty="0" smtClean="0">
              <a:latin typeface="Garamond" panose="02020404030301010803" pitchFamily="18" charset="0"/>
            </a:rPr>
            <a:t>Faciliter l’accès à l’information</a:t>
          </a:r>
          <a:endParaRPr lang="fr-FR" sz="1800" b="1" dirty="0">
            <a:latin typeface="Garamond" panose="02020404030301010803" pitchFamily="18" charset="0"/>
            <a:cs typeface="Arial" charset="0"/>
          </a:endParaRPr>
        </a:p>
      </dgm:t>
    </dgm:pt>
    <dgm:pt modelId="{8B842110-C0A6-4D9E-AAE9-0C36364EB002}" type="parTrans" cxnId="{7A489464-6521-4655-AF44-3C44B1248C7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0CA72B0A-7C6C-46D0-8C3C-0D42F1143298}" type="sibTrans" cxnId="{7A489464-6521-4655-AF44-3C44B1248C7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2CE4BF9D-400C-4D71-9FE5-CC871E8B5E7D}">
      <dgm:prSet phldrT="[Texte]" custT="1"/>
      <dgm:spPr/>
      <dgm:t>
        <a:bodyPr/>
        <a:lstStyle/>
        <a:p>
          <a:r>
            <a:rPr lang="fr-FR" sz="1800" b="0" i="0" dirty="0" smtClean="0">
              <a:latin typeface="Garamond" panose="02020404030301010803" pitchFamily="18" charset="0"/>
            </a:rPr>
            <a:t>Permettre de connaitre l’état des oppositions </a:t>
          </a:r>
          <a:endParaRPr lang="fr-FR" sz="1800" b="1" dirty="0">
            <a:latin typeface="Garamond" panose="02020404030301010803" pitchFamily="18" charset="0"/>
            <a:cs typeface="Arial" charset="0"/>
          </a:endParaRPr>
        </a:p>
      </dgm:t>
    </dgm:pt>
    <dgm:pt modelId="{AD111291-23C8-4E63-A8F8-16CEA47A93AA}" type="parTrans" cxnId="{144E9430-64FA-42BA-9CA8-255284826CDD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8664A3BF-C3A8-4E2C-BD30-3FEA37C415E7}" type="sibTrans" cxnId="{144E9430-64FA-42BA-9CA8-255284826CDD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A0E371E4-2C56-4F51-90BA-6FBFE4F62D40}" type="pres">
      <dgm:prSet presAssocID="{1F805002-A2B7-40F3-B822-9A6996D8C80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EC7AC0BC-6CC2-44C8-8DDB-5AAD2EF16A3F}" type="pres">
      <dgm:prSet presAssocID="{505CA7EF-947E-4FA8-BA2D-23A90BF2A27E}" presName="parentLin" presStyleCnt="0"/>
      <dgm:spPr/>
    </dgm:pt>
    <dgm:pt modelId="{1FBCC39E-9867-4C3F-BC39-32C2E94F0450}" type="pres">
      <dgm:prSet presAssocID="{505CA7EF-947E-4FA8-BA2D-23A90BF2A27E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E9950FCE-59EE-4705-99EE-52362EB734A4}" type="pres">
      <dgm:prSet presAssocID="{505CA7EF-947E-4FA8-BA2D-23A90BF2A27E}" presName="parentText" presStyleLbl="node1" presStyleIdx="0" presStyleCnt="2" custScaleY="252249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5009A4E-D7AF-4064-9B57-CCE72D83C8AF}" type="pres">
      <dgm:prSet presAssocID="{505CA7EF-947E-4FA8-BA2D-23A90BF2A27E}" presName="negativeSpace" presStyleCnt="0"/>
      <dgm:spPr/>
    </dgm:pt>
    <dgm:pt modelId="{71ADDE82-D266-466D-89FB-AD4C0EB959B4}" type="pres">
      <dgm:prSet presAssocID="{505CA7EF-947E-4FA8-BA2D-23A90BF2A27E}" presName="childText" presStyleLbl="conFgAcc1" presStyleIdx="0" presStyleCnt="2">
        <dgm:presLayoutVars>
          <dgm:bulletEnabled val="1"/>
        </dgm:presLayoutVars>
      </dgm:prSet>
      <dgm:spPr/>
    </dgm:pt>
    <dgm:pt modelId="{82BEC22B-80DA-43A3-8AE8-E89AADB9D92E}" type="pres">
      <dgm:prSet presAssocID="{0CA72B0A-7C6C-46D0-8C3C-0D42F1143298}" presName="spaceBetweenRectangles" presStyleCnt="0"/>
      <dgm:spPr/>
    </dgm:pt>
    <dgm:pt modelId="{32E01332-3EB2-4D50-8946-539ABC6D336F}" type="pres">
      <dgm:prSet presAssocID="{2CE4BF9D-400C-4D71-9FE5-CC871E8B5E7D}" presName="parentLin" presStyleCnt="0"/>
      <dgm:spPr/>
    </dgm:pt>
    <dgm:pt modelId="{04458038-294D-4122-A804-1D5EF2297616}" type="pres">
      <dgm:prSet presAssocID="{2CE4BF9D-400C-4D71-9FE5-CC871E8B5E7D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A3BD5A28-16F5-4BB2-BFD3-3F969D43019F}" type="pres">
      <dgm:prSet presAssocID="{2CE4BF9D-400C-4D71-9FE5-CC871E8B5E7D}" presName="parentText" presStyleLbl="node1" presStyleIdx="1" presStyleCnt="2" custScaleY="252249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9760964-52B4-4456-A76F-2995D772D74A}" type="pres">
      <dgm:prSet presAssocID="{2CE4BF9D-400C-4D71-9FE5-CC871E8B5E7D}" presName="negativeSpace" presStyleCnt="0"/>
      <dgm:spPr/>
    </dgm:pt>
    <dgm:pt modelId="{17B8CB20-D53D-4DD9-BC57-5EF611DBB061}" type="pres">
      <dgm:prSet presAssocID="{2CE4BF9D-400C-4D71-9FE5-CC871E8B5E7D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7A489464-6521-4655-AF44-3C44B1248C7A}" srcId="{1F805002-A2B7-40F3-B822-9A6996D8C808}" destId="{505CA7EF-947E-4FA8-BA2D-23A90BF2A27E}" srcOrd="0" destOrd="0" parTransId="{8B842110-C0A6-4D9E-AAE9-0C36364EB002}" sibTransId="{0CA72B0A-7C6C-46D0-8C3C-0D42F1143298}"/>
    <dgm:cxn modelId="{144E9430-64FA-42BA-9CA8-255284826CDD}" srcId="{1F805002-A2B7-40F3-B822-9A6996D8C808}" destId="{2CE4BF9D-400C-4D71-9FE5-CC871E8B5E7D}" srcOrd="1" destOrd="0" parTransId="{AD111291-23C8-4E63-A8F8-16CEA47A93AA}" sibTransId="{8664A3BF-C3A8-4E2C-BD30-3FEA37C415E7}"/>
    <dgm:cxn modelId="{FF53DB6A-B012-4061-AA09-BDB918B9D89B}" type="presOf" srcId="{2CE4BF9D-400C-4D71-9FE5-CC871E8B5E7D}" destId="{A3BD5A28-16F5-4BB2-BFD3-3F969D43019F}" srcOrd="1" destOrd="0" presId="urn:microsoft.com/office/officeart/2005/8/layout/list1"/>
    <dgm:cxn modelId="{965279BF-B979-41AB-AB0F-5F171A869588}" type="presOf" srcId="{1F805002-A2B7-40F3-B822-9A6996D8C808}" destId="{A0E371E4-2C56-4F51-90BA-6FBFE4F62D40}" srcOrd="0" destOrd="0" presId="urn:microsoft.com/office/officeart/2005/8/layout/list1"/>
    <dgm:cxn modelId="{08857105-2362-4D22-8D9A-08ED1E081FE5}" type="presOf" srcId="{505CA7EF-947E-4FA8-BA2D-23A90BF2A27E}" destId="{E9950FCE-59EE-4705-99EE-52362EB734A4}" srcOrd="1" destOrd="0" presId="urn:microsoft.com/office/officeart/2005/8/layout/list1"/>
    <dgm:cxn modelId="{5F5953AD-FD23-43A3-994F-6FFD7E08BDB5}" type="presOf" srcId="{2CE4BF9D-400C-4D71-9FE5-CC871E8B5E7D}" destId="{04458038-294D-4122-A804-1D5EF2297616}" srcOrd="0" destOrd="0" presId="urn:microsoft.com/office/officeart/2005/8/layout/list1"/>
    <dgm:cxn modelId="{5832929B-EA62-454F-85DF-FB81EBB1D436}" type="presOf" srcId="{505CA7EF-947E-4FA8-BA2D-23A90BF2A27E}" destId="{1FBCC39E-9867-4C3F-BC39-32C2E94F0450}" srcOrd="0" destOrd="0" presId="urn:microsoft.com/office/officeart/2005/8/layout/list1"/>
    <dgm:cxn modelId="{1861EB31-A6ED-401F-8301-6A7457FCD8E1}" type="presParOf" srcId="{A0E371E4-2C56-4F51-90BA-6FBFE4F62D40}" destId="{EC7AC0BC-6CC2-44C8-8DDB-5AAD2EF16A3F}" srcOrd="0" destOrd="0" presId="urn:microsoft.com/office/officeart/2005/8/layout/list1"/>
    <dgm:cxn modelId="{C2580BDC-F6DB-4D9A-9B47-081B7037B3BE}" type="presParOf" srcId="{EC7AC0BC-6CC2-44C8-8DDB-5AAD2EF16A3F}" destId="{1FBCC39E-9867-4C3F-BC39-32C2E94F0450}" srcOrd="0" destOrd="0" presId="urn:microsoft.com/office/officeart/2005/8/layout/list1"/>
    <dgm:cxn modelId="{440ABAA6-C3F8-4CD4-B495-30AEBF0D758F}" type="presParOf" srcId="{EC7AC0BC-6CC2-44C8-8DDB-5AAD2EF16A3F}" destId="{E9950FCE-59EE-4705-99EE-52362EB734A4}" srcOrd="1" destOrd="0" presId="urn:microsoft.com/office/officeart/2005/8/layout/list1"/>
    <dgm:cxn modelId="{776E19E2-335A-4FC0-BB15-EFE8AB767B1B}" type="presParOf" srcId="{A0E371E4-2C56-4F51-90BA-6FBFE4F62D40}" destId="{C5009A4E-D7AF-4064-9B57-CCE72D83C8AF}" srcOrd="1" destOrd="0" presId="urn:microsoft.com/office/officeart/2005/8/layout/list1"/>
    <dgm:cxn modelId="{6808EF44-559B-43FE-B78F-FDADAF1FE95A}" type="presParOf" srcId="{A0E371E4-2C56-4F51-90BA-6FBFE4F62D40}" destId="{71ADDE82-D266-466D-89FB-AD4C0EB959B4}" srcOrd="2" destOrd="0" presId="urn:microsoft.com/office/officeart/2005/8/layout/list1"/>
    <dgm:cxn modelId="{710661BD-55EE-42DB-91AF-D28CD2016430}" type="presParOf" srcId="{A0E371E4-2C56-4F51-90BA-6FBFE4F62D40}" destId="{82BEC22B-80DA-43A3-8AE8-E89AADB9D92E}" srcOrd="3" destOrd="0" presId="urn:microsoft.com/office/officeart/2005/8/layout/list1"/>
    <dgm:cxn modelId="{B00F4046-35CF-484A-A2D0-086E0CAFD51F}" type="presParOf" srcId="{A0E371E4-2C56-4F51-90BA-6FBFE4F62D40}" destId="{32E01332-3EB2-4D50-8946-539ABC6D336F}" srcOrd="4" destOrd="0" presId="urn:microsoft.com/office/officeart/2005/8/layout/list1"/>
    <dgm:cxn modelId="{29057C9F-1A35-4D70-96E6-874A8BB398C1}" type="presParOf" srcId="{32E01332-3EB2-4D50-8946-539ABC6D336F}" destId="{04458038-294D-4122-A804-1D5EF2297616}" srcOrd="0" destOrd="0" presId="urn:microsoft.com/office/officeart/2005/8/layout/list1"/>
    <dgm:cxn modelId="{B7F19377-3FCE-421D-969D-0BE64E12AF22}" type="presParOf" srcId="{32E01332-3EB2-4D50-8946-539ABC6D336F}" destId="{A3BD5A28-16F5-4BB2-BFD3-3F969D43019F}" srcOrd="1" destOrd="0" presId="urn:microsoft.com/office/officeart/2005/8/layout/list1"/>
    <dgm:cxn modelId="{D648FF0B-C8B5-43FD-966B-08D37ECA70B6}" type="presParOf" srcId="{A0E371E4-2C56-4F51-90BA-6FBFE4F62D40}" destId="{09760964-52B4-4456-A76F-2995D772D74A}" srcOrd="5" destOrd="0" presId="urn:microsoft.com/office/officeart/2005/8/layout/list1"/>
    <dgm:cxn modelId="{D7CA455C-DD70-4E73-AFF9-037A10882DE6}" type="presParOf" srcId="{A0E371E4-2C56-4F51-90BA-6FBFE4F62D40}" destId="{17B8CB20-D53D-4DD9-BC57-5EF611DBB061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F805002-A2B7-40F3-B822-9A6996D8C808}" type="doc">
      <dgm:prSet loTypeId="urn:microsoft.com/office/officeart/2005/8/layout/list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505CA7EF-947E-4FA8-BA2D-23A90BF2A27E}">
      <dgm:prSet phldrT="[Texte]" custT="1"/>
      <dgm:spPr/>
      <dgm:t>
        <a:bodyPr/>
        <a:lstStyle/>
        <a:p>
          <a:r>
            <a:rPr lang="fr-FR" sz="2000" dirty="0" smtClean="0">
              <a:solidFill>
                <a:schemeClr val="bg1"/>
              </a:solidFill>
              <a:latin typeface="Garamond" panose="02020404030301010803" pitchFamily="18" charset="0"/>
            </a:rPr>
            <a:t>Suivi des dossiers de permis de conduire </a:t>
          </a:r>
          <a:endParaRPr lang="fr-FR" sz="2000" b="1" dirty="0">
            <a:solidFill>
              <a:schemeClr val="bg1"/>
            </a:solidFill>
            <a:latin typeface="Garamond" panose="02020404030301010803" pitchFamily="18" charset="0"/>
            <a:cs typeface="Arial" charset="0"/>
          </a:endParaRPr>
        </a:p>
      </dgm:t>
    </dgm:pt>
    <dgm:pt modelId="{8B842110-C0A6-4D9E-AAE9-0C36364EB002}" type="parTrans" cxnId="{7A489464-6521-4655-AF44-3C44B1248C7A}">
      <dgm:prSet/>
      <dgm:spPr/>
      <dgm:t>
        <a:bodyPr/>
        <a:lstStyle/>
        <a:p>
          <a:endParaRPr lang="fr-FR" sz="4800">
            <a:solidFill>
              <a:schemeClr val="bg1"/>
            </a:solidFill>
            <a:latin typeface="Garamond" panose="02020404030301010803" pitchFamily="18" charset="0"/>
          </a:endParaRPr>
        </a:p>
      </dgm:t>
    </dgm:pt>
    <dgm:pt modelId="{0CA72B0A-7C6C-46D0-8C3C-0D42F1143298}" type="sibTrans" cxnId="{7A489464-6521-4655-AF44-3C44B1248C7A}">
      <dgm:prSet/>
      <dgm:spPr/>
      <dgm:t>
        <a:bodyPr/>
        <a:lstStyle/>
        <a:p>
          <a:endParaRPr lang="fr-FR" sz="4800">
            <a:solidFill>
              <a:schemeClr val="bg1"/>
            </a:solidFill>
            <a:latin typeface="Garamond" panose="02020404030301010803" pitchFamily="18" charset="0"/>
          </a:endParaRPr>
        </a:p>
      </dgm:t>
    </dgm:pt>
    <dgm:pt modelId="{2CE4BF9D-400C-4D71-9FE5-CC871E8B5E7D}">
      <dgm:prSet phldrT="[Texte]" custT="1"/>
      <dgm:spPr/>
      <dgm:t>
        <a:bodyPr/>
        <a:lstStyle/>
        <a:p>
          <a:r>
            <a:rPr lang="fr-FR" sz="2000" dirty="0" smtClean="0">
              <a:solidFill>
                <a:schemeClr val="bg1"/>
              </a:solidFill>
              <a:latin typeface="Garamond" panose="02020404030301010803" pitchFamily="18" charset="0"/>
            </a:rPr>
            <a:t>Suivi des dossiers de carte grise</a:t>
          </a:r>
          <a:endParaRPr lang="fr-FR" sz="2000" b="1" dirty="0">
            <a:solidFill>
              <a:schemeClr val="bg1"/>
            </a:solidFill>
            <a:latin typeface="Garamond" panose="02020404030301010803" pitchFamily="18" charset="0"/>
            <a:cs typeface="Arial" charset="0"/>
          </a:endParaRPr>
        </a:p>
      </dgm:t>
    </dgm:pt>
    <dgm:pt modelId="{AD111291-23C8-4E63-A8F8-16CEA47A93AA}" type="parTrans" cxnId="{144E9430-64FA-42BA-9CA8-255284826CDD}">
      <dgm:prSet/>
      <dgm:spPr/>
      <dgm:t>
        <a:bodyPr/>
        <a:lstStyle/>
        <a:p>
          <a:endParaRPr lang="fr-FR" sz="4800">
            <a:solidFill>
              <a:schemeClr val="bg1"/>
            </a:solidFill>
            <a:latin typeface="Garamond" panose="02020404030301010803" pitchFamily="18" charset="0"/>
          </a:endParaRPr>
        </a:p>
      </dgm:t>
    </dgm:pt>
    <dgm:pt modelId="{8664A3BF-C3A8-4E2C-BD30-3FEA37C415E7}" type="sibTrans" cxnId="{144E9430-64FA-42BA-9CA8-255284826CDD}">
      <dgm:prSet/>
      <dgm:spPr/>
      <dgm:t>
        <a:bodyPr/>
        <a:lstStyle/>
        <a:p>
          <a:endParaRPr lang="fr-FR" sz="4800">
            <a:solidFill>
              <a:schemeClr val="bg1"/>
            </a:solidFill>
            <a:latin typeface="Garamond" panose="02020404030301010803" pitchFamily="18" charset="0"/>
          </a:endParaRPr>
        </a:p>
      </dgm:t>
    </dgm:pt>
    <dgm:pt modelId="{A0E371E4-2C56-4F51-90BA-6FBFE4F62D40}" type="pres">
      <dgm:prSet presAssocID="{1F805002-A2B7-40F3-B822-9A6996D8C808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EC7AC0BC-6CC2-44C8-8DDB-5AAD2EF16A3F}" type="pres">
      <dgm:prSet presAssocID="{505CA7EF-947E-4FA8-BA2D-23A90BF2A27E}" presName="parentLin" presStyleCnt="0"/>
      <dgm:spPr/>
    </dgm:pt>
    <dgm:pt modelId="{1FBCC39E-9867-4C3F-BC39-32C2E94F0450}" type="pres">
      <dgm:prSet presAssocID="{505CA7EF-947E-4FA8-BA2D-23A90BF2A27E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E9950FCE-59EE-4705-99EE-52362EB734A4}" type="pres">
      <dgm:prSet presAssocID="{505CA7EF-947E-4FA8-BA2D-23A90BF2A27E}" presName="parentText" presStyleLbl="node1" presStyleIdx="0" presStyleCnt="2" custScaleY="252249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5009A4E-D7AF-4064-9B57-CCE72D83C8AF}" type="pres">
      <dgm:prSet presAssocID="{505CA7EF-947E-4FA8-BA2D-23A90BF2A27E}" presName="negativeSpace" presStyleCnt="0"/>
      <dgm:spPr/>
    </dgm:pt>
    <dgm:pt modelId="{71ADDE82-D266-466D-89FB-AD4C0EB959B4}" type="pres">
      <dgm:prSet presAssocID="{505CA7EF-947E-4FA8-BA2D-23A90BF2A27E}" presName="childText" presStyleLbl="conFgAcc1" presStyleIdx="0" presStyleCnt="2">
        <dgm:presLayoutVars>
          <dgm:bulletEnabled val="1"/>
        </dgm:presLayoutVars>
      </dgm:prSet>
      <dgm:spPr/>
    </dgm:pt>
    <dgm:pt modelId="{82BEC22B-80DA-43A3-8AE8-E89AADB9D92E}" type="pres">
      <dgm:prSet presAssocID="{0CA72B0A-7C6C-46D0-8C3C-0D42F1143298}" presName="spaceBetweenRectangles" presStyleCnt="0"/>
      <dgm:spPr/>
    </dgm:pt>
    <dgm:pt modelId="{32E01332-3EB2-4D50-8946-539ABC6D336F}" type="pres">
      <dgm:prSet presAssocID="{2CE4BF9D-400C-4D71-9FE5-CC871E8B5E7D}" presName="parentLin" presStyleCnt="0"/>
      <dgm:spPr/>
    </dgm:pt>
    <dgm:pt modelId="{04458038-294D-4122-A804-1D5EF2297616}" type="pres">
      <dgm:prSet presAssocID="{2CE4BF9D-400C-4D71-9FE5-CC871E8B5E7D}" presName="parentLeftMargin" presStyleLbl="node1" presStyleIdx="0" presStyleCnt="2"/>
      <dgm:spPr/>
      <dgm:t>
        <a:bodyPr/>
        <a:lstStyle/>
        <a:p>
          <a:endParaRPr lang="fr-FR"/>
        </a:p>
      </dgm:t>
    </dgm:pt>
    <dgm:pt modelId="{A3BD5A28-16F5-4BB2-BFD3-3F969D43019F}" type="pres">
      <dgm:prSet presAssocID="{2CE4BF9D-400C-4D71-9FE5-CC871E8B5E7D}" presName="parentText" presStyleLbl="node1" presStyleIdx="1" presStyleCnt="2" custScaleY="252249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9760964-52B4-4456-A76F-2995D772D74A}" type="pres">
      <dgm:prSet presAssocID="{2CE4BF9D-400C-4D71-9FE5-CC871E8B5E7D}" presName="negativeSpace" presStyleCnt="0"/>
      <dgm:spPr/>
    </dgm:pt>
    <dgm:pt modelId="{17B8CB20-D53D-4DD9-BC57-5EF611DBB061}" type="pres">
      <dgm:prSet presAssocID="{2CE4BF9D-400C-4D71-9FE5-CC871E8B5E7D}" presName="childText" presStyleLbl="conFgAcc1" presStyleIdx="1" presStyleCnt="2">
        <dgm:presLayoutVars>
          <dgm:bulletEnabled val="1"/>
        </dgm:presLayoutVars>
      </dgm:prSet>
      <dgm:spPr/>
    </dgm:pt>
  </dgm:ptLst>
  <dgm:cxnLst>
    <dgm:cxn modelId="{7A489464-6521-4655-AF44-3C44B1248C7A}" srcId="{1F805002-A2B7-40F3-B822-9A6996D8C808}" destId="{505CA7EF-947E-4FA8-BA2D-23A90BF2A27E}" srcOrd="0" destOrd="0" parTransId="{8B842110-C0A6-4D9E-AAE9-0C36364EB002}" sibTransId="{0CA72B0A-7C6C-46D0-8C3C-0D42F1143298}"/>
    <dgm:cxn modelId="{144E9430-64FA-42BA-9CA8-255284826CDD}" srcId="{1F805002-A2B7-40F3-B822-9A6996D8C808}" destId="{2CE4BF9D-400C-4D71-9FE5-CC871E8B5E7D}" srcOrd="1" destOrd="0" parTransId="{AD111291-23C8-4E63-A8F8-16CEA47A93AA}" sibTransId="{8664A3BF-C3A8-4E2C-BD30-3FEA37C415E7}"/>
    <dgm:cxn modelId="{FF53DB6A-B012-4061-AA09-BDB918B9D89B}" type="presOf" srcId="{2CE4BF9D-400C-4D71-9FE5-CC871E8B5E7D}" destId="{A3BD5A28-16F5-4BB2-BFD3-3F969D43019F}" srcOrd="1" destOrd="0" presId="urn:microsoft.com/office/officeart/2005/8/layout/list1"/>
    <dgm:cxn modelId="{965279BF-B979-41AB-AB0F-5F171A869588}" type="presOf" srcId="{1F805002-A2B7-40F3-B822-9A6996D8C808}" destId="{A0E371E4-2C56-4F51-90BA-6FBFE4F62D40}" srcOrd="0" destOrd="0" presId="urn:microsoft.com/office/officeart/2005/8/layout/list1"/>
    <dgm:cxn modelId="{08857105-2362-4D22-8D9A-08ED1E081FE5}" type="presOf" srcId="{505CA7EF-947E-4FA8-BA2D-23A90BF2A27E}" destId="{E9950FCE-59EE-4705-99EE-52362EB734A4}" srcOrd="1" destOrd="0" presId="urn:microsoft.com/office/officeart/2005/8/layout/list1"/>
    <dgm:cxn modelId="{5F5953AD-FD23-43A3-994F-6FFD7E08BDB5}" type="presOf" srcId="{2CE4BF9D-400C-4D71-9FE5-CC871E8B5E7D}" destId="{04458038-294D-4122-A804-1D5EF2297616}" srcOrd="0" destOrd="0" presId="urn:microsoft.com/office/officeart/2005/8/layout/list1"/>
    <dgm:cxn modelId="{5832929B-EA62-454F-85DF-FB81EBB1D436}" type="presOf" srcId="{505CA7EF-947E-4FA8-BA2D-23A90BF2A27E}" destId="{1FBCC39E-9867-4C3F-BC39-32C2E94F0450}" srcOrd="0" destOrd="0" presId="urn:microsoft.com/office/officeart/2005/8/layout/list1"/>
    <dgm:cxn modelId="{1861EB31-A6ED-401F-8301-6A7457FCD8E1}" type="presParOf" srcId="{A0E371E4-2C56-4F51-90BA-6FBFE4F62D40}" destId="{EC7AC0BC-6CC2-44C8-8DDB-5AAD2EF16A3F}" srcOrd="0" destOrd="0" presId="urn:microsoft.com/office/officeart/2005/8/layout/list1"/>
    <dgm:cxn modelId="{C2580BDC-F6DB-4D9A-9B47-081B7037B3BE}" type="presParOf" srcId="{EC7AC0BC-6CC2-44C8-8DDB-5AAD2EF16A3F}" destId="{1FBCC39E-9867-4C3F-BC39-32C2E94F0450}" srcOrd="0" destOrd="0" presId="urn:microsoft.com/office/officeart/2005/8/layout/list1"/>
    <dgm:cxn modelId="{440ABAA6-C3F8-4CD4-B495-30AEBF0D758F}" type="presParOf" srcId="{EC7AC0BC-6CC2-44C8-8DDB-5AAD2EF16A3F}" destId="{E9950FCE-59EE-4705-99EE-52362EB734A4}" srcOrd="1" destOrd="0" presId="urn:microsoft.com/office/officeart/2005/8/layout/list1"/>
    <dgm:cxn modelId="{776E19E2-335A-4FC0-BB15-EFE8AB767B1B}" type="presParOf" srcId="{A0E371E4-2C56-4F51-90BA-6FBFE4F62D40}" destId="{C5009A4E-D7AF-4064-9B57-CCE72D83C8AF}" srcOrd="1" destOrd="0" presId="urn:microsoft.com/office/officeart/2005/8/layout/list1"/>
    <dgm:cxn modelId="{6808EF44-559B-43FE-B78F-FDADAF1FE95A}" type="presParOf" srcId="{A0E371E4-2C56-4F51-90BA-6FBFE4F62D40}" destId="{71ADDE82-D266-466D-89FB-AD4C0EB959B4}" srcOrd="2" destOrd="0" presId="urn:microsoft.com/office/officeart/2005/8/layout/list1"/>
    <dgm:cxn modelId="{710661BD-55EE-42DB-91AF-D28CD2016430}" type="presParOf" srcId="{A0E371E4-2C56-4F51-90BA-6FBFE4F62D40}" destId="{82BEC22B-80DA-43A3-8AE8-E89AADB9D92E}" srcOrd="3" destOrd="0" presId="urn:microsoft.com/office/officeart/2005/8/layout/list1"/>
    <dgm:cxn modelId="{B00F4046-35CF-484A-A2D0-086E0CAFD51F}" type="presParOf" srcId="{A0E371E4-2C56-4F51-90BA-6FBFE4F62D40}" destId="{32E01332-3EB2-4D50-8946-539ABC6D336F}" srcOrd="4" destOrd="0" presId="urn:microsoft.com/office/officeart/2005/8/layout/list1"/>
    <dgm:cxn modelId="{29057C9F-1A35-4D70-96E6-874A8BB398C1}" type="presParOf" srcId="{32E01332-3EB2-4D50-8946-539ABC6D336F}" destId="{04458038-294D-4122-A804-1D5EF2297616}" srcOrd="0" destOrd="0" presId="urn:microsoft.com/office/officeart/2005/8/layout/list1"/>
    <dgm:cxn modelId="{B7F19377-3FCE-421D-969D-0BE64E12AF22}" type="presParOf" srcId="{32E01332-3EB2-4D50-8946-539ABC6D336F}" destId="{A3BD5A28-16F5-4BB2-BFD3-3F969D43019F}" srcOrd="1" destOrd="0" presId="urn:microsoft.com/office/officeart/2005/8/layout/list1"/>
    <dgm:cxn modelId="{D648FF0B-C8B5-43FD-966B-08D37ECA70B6}" type="presParOf" srcId="{A0E371E4-2C56-4F51-90BA-6FBFE4F62D40}" destId="{09760964-52B4-4456-A76F-2995D772D74A}" srcOrd="5" destOrd="0" presId="urn:microsoft.com/office/officeart/2005/8/layout/list1"/>
    <dgm:cxn modelId="{D7CA455C-DD70-4E73-AFF9-037A10882DE6}" type="presParOf" srcId="{A0E371E4-2C56-4F51-90BA-6FBFE4F62D40}" destId="{17B8CB20-D53D-4DD9-BC57-5EF611DBB061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F805002-A2B7-40F3-B822-9A6996D8C808}" type="doc">
      <dgm:prSet loTypeId="urn:microsoft.com/office/officeart/2005/8/layout/defaul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505CA7EF-947E-4FA8-BA2D-23A90BF2A27E}">
      <dgm:prSet phldrT="[Texte]" custT="1"/>
      <dgm:spPr/>
      <dgm:t>
        <a:bodyPr/>
        <a:lstStyle/>
        <a:p>
          <a:r>
            <a:rPr lang="fr-FR" sz="1800" b="1" dirty="0">
              <a:latin typeface="Garamond" panose="02020404030301010803" pitchFamily="18" charset="0"/>
              <a:cs typeface="Arial" charset="0"/>
            </a:rPr>
            <a:t>Consultation des infractions routières enregistrées par les radars</a:t>
          </a:r>
        </a:p>
      </dgm:t>
    </dgm:pt>
    <dgm:pt modelId="{8B842110-C0A6-4D9E-AAE9-0C36364EB002}" type="parTrans" cxnId="{7A489464-6521-4655-AF44-3C44B1248C7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0CA72B0A-7C6C-46D0-8C3C-0D42F1143298}" type="sibTrans" cxnId="{7A489464-6521-4655-AF44-3C44B1248C7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2CE4BF9D-400C-4D71-9FE5-CC871E8B5E7D}">
      <dgm:prSet phldrT="[Texte]" custT="1"/>
      <dgm:spPr/>
      <dgm:t>
        <a:bodyPr/>
        <a:lstStyle/>
        <a:p>
          <a:r>
            <a:rPr lang="fr-FR" sz="1800" b="1" dirty="0">
              <a:latin typeface="Garamond" panose="02020404030301010803" pitchFamily="18" charset="0"/>
              <a:cs typeface="Arial" charset="0"/>
            </a:rPr>
            <a:t>Consultation du solde de points</a:t>
          </a:r>
        </a:p>
      </dgm:t>
    </dgm:pt>
    <dgm:pt modelId="{AD111291-23C8-4E63-A8F8-16CEA47A93AA}" type="parTrans" cxnId="{144E9430-64FA-42BA-9CA8-255284826CDD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8664A3BF-C3A8-4E2C-BD30-3FEA37C415E7}" type="sibTrans" cxnId="{144E9430-64FA-42BA-9CA8-255284826CDD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6265AF61-312E-4B8F-B6F2-122021BD4C98}">
      <dgm:prSet phldrT="[Texte]" custT="1"/>
      <dgm:spPr/>
      <dgm:t>
        <a:bodyPr/>
        <a:lstStyle/>
        <a:p>
          <a:r>
            <a:rPr lang="fr-FR" sz="1800" b="1" i="0" dirty="0">
              <a:latin typeface="Garamond" panose="02020404030301010803" pitchFamily="18" charset="0"/>
            </a:rPr>
            <a:t>Consultation de l’état de l’infraction</a:t>
          </a:r>
          <a:endParaRPr lang="fr-FR" sz="1800" b="1" dirty="0">
            <a:latin typeface="Garamond" panose="02020404030301010803" pitchFamily="18" charset="0"/>
          </a:endParaRPr>
        </a:p>
      </dgm:t>
    </dgm:pt>
    <dgm:pt modelId="{51362998-4D9E-43A8-B448-E8461B2F9303}" type="parTrans" cxnId="{4AF8945E-1833-455D-AAE8-2C6AA6B99BB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48C9EB99-D6C9-4F58-9168-C869F6BC93C8}" type="sibTrans" cxnId="{4AF8945E-1833-455D-AAE8-2C6AA6B99BB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FB7B0A6D-2B9A-421D-8673-C8BC3BE9DDE8}">
      <dgm:prSet custT="1"/>
      <dgm:spPr/>
      <dgm:t>
        <a:bodyPr/>
        <a:lstStyle/>
        <a:p>
          <a:r>
            <a:rPr lang="fr-FR" sz="1800" b="1" i="0" dirty="0">
              <a:latin typeface="Garamond" panose="02020404030301010803" pitchFamily="18" charset="0"/>
            </a:rPr>
            <a:t>Paiement électronique des amendes relatives aux infractions enregistrées par les radars de contrôle automatisé</a:t>
          </a:r>
          <a:endParaRPr lang="fr-FR" sz="1800" b="1" dirty="0">
            <a:latin typeface="Garamond" panose="02020404030301010803" pitchFamily="18" charset="0"/>
          </a:endParaRPr>
        </a:p>
      </dgm:t>
    </dgm:pt>
    <dgm:pt modelId="{04299940-9802-45CD-B980-3579169A2833}" type="parTrans" cxnId="{B568EE7E-3C83-4865-A73A-F059F73E7FE5}">
      <dgm:prSet/>
      <dgm:spPr/>
      <dgm:t>
        <a:bodyPr/>
        <a:lstStyle/>
        <a:p>
          <a:endParaRPr lang="fr-FR"/>
        </a:p>
      </dgm:t>
    </dgm:pt>
    <dgm:pt modelId="{54AC1ECC-74E7-4A32-8507-7D4D50FEF862}" type="sibTrans" cxnId="{B568EE7E-3C83-4865-A73A-F059F73E7FE5}">
      <dgm:prSet/>
      <dgm:spPr/>
      <dgm:t>
        <a:bodyPr/>
        <a:lstStyle/>
        <a:p>
          <a:endParaRPr lang="fr-FR"/>
        </a:p>
      </dgm:t>
    </dgm:pt>
    <dgm:pt modelId="{15A309CA-E7ED-438A-BEEA-01F3DA7613F1}" type="pres">
      <dgm:prSet presAssocID="{1F805002-A2B7-40F3-B822-9A6996D8C808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F8DE3AC5-6B2E-4C82-8C78-923BE2380D6F}" type="pres">
      <dgm:prSet presAssocID="{505CA7EF-947E-4FA8-BA2D-23A90BF2A27E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659CAFF-608A-4425-A66B-607335875D5E}" type="pres">
      <dgm:prSet presAssocID="{0CA72B0A-7C6C-46D0-8C3C-0D42F1143298}" presName="sibTrans" presStyleCnt="0"/>
      <dgm:spPr/>
    </dgm:pt>
    <dgm:pt modelId="{FCBDFB78-ED6B-4819-9CDE-EFB2F5DE0C83}" type="pres">
      <dgm:prSet presAssocID="{2CE4BF9D-400C-4D71-9FE5-CC871E8B5E7D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64AC4E7-44B5-4C0E-B5C1-BEE2A361B442}" type="pres">
      <dgm:prSet presAssocID="{8664A3BF-C3A8-4E2C-BD30-3FEA37C415E7}" presName="sibTrans" presStyleCnt="0"/>
      <dgm:spPr/>
    </dgm:pt>
    <dgm:pt modelId="{EF4A259B-66EA-4C43-8B28-D7F49DDFE773}" type="pres">
      <dgm:prSet presAssocID="{6265AF61-312E-4B8F-B6F2-122021BD4C98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3EDAF61-23F3-4104-9182-AE2D76257F23}" type="pres">
      <dgm:prSet presAssocID="{48C9EB99-D6C9-4F58-9168-C869F6BC93C8}" presName="sibTrans" presStyleCnt="0"/>
      <dgm:spPr/>
    </dgm:pt>
    <dgm:pt modelId="{AB7BE6A0-5440-4991-ACDD-E4871AFDBCF1}" type="pres">
      <dgm:prSet presAssocID="{FB7B0A6D-2B9A-421D-8673-C8BC3BE9DDE8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F056D63-0B1D-4EB0-B3D9-AF65A6753961}" type="presOf" srcId="{FB7B0A6D-2B9A-421D-8673-C8BC3BE9DDE8}" destId="{AB7BE6A0-5440-4991-ACDD-E4871AFDBCF1}" srcOrd="0" destOrd="0" presId="urn:microsoft.com/office/officeart/2005/8/layout/default"/>
    <dgm:cxn modelId="{7A489464-6521-4655-AF44-3C44B1248C7A}" srcId="{1F805002-A2B7-40F3-B822-9A6996D8C808}" destId="{505CA7EF-947E-4FA8-BA2D-23A90BF2A27E}" srcOrd="0" destOrd="0" parTransId="{8B842110-C0A6-4D9E-AAE9-0C36364EB002}" sibTransId="{0CA72B0A-7C6C-46D0-8C3C-0D42F1143298}"/>
    <dgm:cxn modelId="{97EF4D7D-FC8A-4C51-8836-E14BCE0DED30}" type="presOf" srcId="{505CA7EF-947E-4FA8-BA2D-23A90BF2A27E}" destId="{F8DE3AC5-6B2E-4C82-8C78-923BE2380D6F}" srcOrd="0" destOrd="0" presId="urn:microsoft.com/office/officeart/2005/8/layout/default"/>
    <dgm:cxn modelId="{78F50639-5D54-447A-8085-EFB8051B8D7B}" type="presOf" srcId="{2CE4BF9D-400C-4D71-9FE5-CC871E8B5E7D}" destId="{FCBDFB78-ED6B-4819-9CDE-EFB2F5DE0C83}" srcOrd="0" destOrd="0" presId="urn:microsoft.com/office/officeart/2005/8/layout/default"/>
    <dgm:cxn modelId="{4AF8945E-1833-455D-AAE8-2C6AA6B99BBA}" srcId="{1F805002-A2B7-40F3-B822-9A6996D8C808}" destId="{6265AF61-312E-4B8F-B6F2-122021BD4C98}" srcOrd="2" destOrd="0" parTransId="{51362998-4D9E-43A8-B448-E8461B2F9303}" sibTransId="{48C9EB99-D6C9-4F58-9168-C869F6BC93C8}"/>
    <dgm:cxn modelId="{A403C4AC-9407-4E61-A06D-4CDF04700F35}" type="presOf" srcId="{1F805002-A2B7-40F3-B822-9A6996D8C808}" destId="{15A309CA-E7ED-438A-BEEA-01F3DA7613F1}" srcOrd="0" destOrd="0" presId="urn:microsoft.com/office/officeart/2005/8/layout/default"/>
    <dgm:cxn modelId="{523B4AD6-F7AF-41D8-B9F2-66F736E2993C}" type="presOf" srcId="{6265AF61-312E-4B8F-B6F2-122021BD4C98}" destId="{EF4A259B-66EA-4C43-8B28-D7F49DDFE773}" srcOrd="0" destOrd="0" presId="urn:microsoft.com/office/officeart/2005/8/layout/default"/>
    <dgm:cxn modelId="{144E9430-64FA-42BA-9CA8-255284826CDD}" srcId="{1F805002-A2B7-40F3-B822-9A6996D8C808}" destId="{2CE4BF9D-400C-4D71-9FE5-CC871E8B5E7D}" srcOrd="1" destOrd="0" parTransId="{AD111291-23C8-4E63-A8F8-16CEA47A93AA}" sibTransId="{8664A3BF-C3A8-4E2C-BD30-3FEA37C415E7}"/>
    <dgm:cxn modelId="{B568EE7E-3C83-4865-A73A-F059F73E7FE5}" srcId="{1F805002-A2B7-40F3-B822-9A6996D8C808}" destId="{FB7B0A6D-2B9A-421D-8673-C8BC3BE9DDE8}" srcOrd="3" destOrd="0" parTransId="{04299940-9802-45CD-B980-3579169A2833}" sibTransId="{54AC1ECC-74E7-4A32-8507-7D4D50FEF862}"/>
    <dgm:cxn modelId="{0984E37A-9D17-4ADC-A3D6-CD19CEDDB276}" type="presParOf" srcId="{15A309CA-E7ED-438A-BEEA-01F3DA7613F1}" destId="{F8DE3AC5-6B2E-4C82-8C78-923BE2380D6F}" srcOrd="0" destOrd="0" presId="urn:microsoft.com/office/officeart/2005/8/layout/default"/>
    <dgm:cxn modelId="{8444F3EB-DBB0-4ACB-B67D-15C9D0B24059}" type="presParOf" srcId="{15A309CA-E7ED-438A-BEEA-01F3DA7613F1}" destId="{1659CAFF-608A-4425-A66B-607335875D5E}" srcOrd="1" destOrd="0" presId="urn:microsoft.com/office/officeart/2005/8/layout/default"/>
    <dgm:cxn modelId="{A85A3FC0-4E93-4FB6-B455-114C63B4C138}" type="presParOf" srcId="{15A309CA-E7ED-438A-BEEA-01F3DA7613F1}" destId="{FCBDFB78-ED6B-4819-9CDE-EFB2F5DE0C83}" srcOrd="2" destOrd="0" presId="urn:microsoft.com/office/officeart/2005/8/layout/default"/>
    <dgm:cxn modelId="{9F57503C-658C-41E6-B35E-45ACF58B0514}" type="presParOf" srcId="{15A309CA-E7ED-438A-BEEA-01F3DA7613F1}" destId="{C64AC4E7-44B5-4C0E-B5C1-BEE2A361B442}" srcOrd="3" destOrd="0" presId="urn:microsoft.com/office/officeart/2005/8/layout/default"/>
    <dgm:cxn modelId="{F98221F6-CF06-480A-B66A-933469588D6B}" type="presParOf" srcId="{15A309CA-E7ED-438A-BEEA-01F3DA7613F1}" destId="{EF4A259B-66EA-4C43-8B28-D7F49DDFE773}" srcOrd="4" destOrd="0" presId="urn:microsoft.com/office/officeart/2005/8/layout/default"/>
    <dgm:cxn modelId="{A1D24726-C633-4F9B-99D2-79F457ED3A95}" type="presParOf" srcId="{15A309CA-E7ED-438A-BEEA-01F3DA7613F1}" destId="{33EDAF61-23F3-4104-9182-AE2D76257F23}" srcOrd="5" destOrd="0" presId="urn:microsoft.com/office/officeart/2005/8/layout/default"/>
    <dgm:cxn modelId="{51C21019-2CE2-47FA-9786-67C67FC14AC7}" type="presParOf" srcId="{15A309CA-E7ED-438A-BEEA-01F3DA7613F1}" destId="{AB7BE6A0-5440-4991-ACDD-E4871AFDBCF1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F805002-A2B7-40F3-B822-9A6996D8C808}" type="doc">
      <dgm:prSet loTypeId="urn:microsoft.com/office/officeart/2008/layout/VerticalAccent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505CA7EF-947E-4FA8-BA2D-23A90BF2A27E}">
      <dgm:prSet phldrT="[Texte]" custT="1"/>
      <dgm:spPr/>
      <dgm:t>
        <a:bodyPr/>
        <a:lstStyle/>
        <a:p>
          <a:r>
            <a:rPr lang="fr-FR" sz="1800" b="1" i="0" dirty="0">
              <a:latin typeface="Garamond" panose="02020404030301010803" pitchFamily="18" charset="0"/>
            </a:rPr>
            <a:t>Déclarer le conducteur ou la personne ayant la responsabilité civile aussitôt qu’il récupère le véhicule</a:t>
          </a:r>
          <a:endParaRPr lang="fr-FR" sz="1800" b="1" dirty="0">
            <a:latin typeface="Garamond" panose="02020404030301010803" pitchFamily="18" charset="0"/>
            <a:cs typeface="Arial" charset="0"/>
          </a:endParaRPr>
        </a:p>
      </dgm:t>
    </dgm:pt>
    <dgm:pt modelId="{8B842110-C0A6-4D9E-AAE9-0C36364EB002}" type="parTrans" cxnId="{7A489464-6521-4655-AF44-3C44B1248C7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0CA72B0A-7C6C-46D0-8C3C-0D42F1143298}" type="sibTrans" cxnId="{7A489464-6521-4655-AF44-3C44B1248C7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2CE4BF9D-400C-4D71-9FE5-CC871E8B5E7D}">
      <dgm:prSet phldrT="[Texte]" custT="1"/>
      <dgm:spPr/>
      <dgm:t>
        <a:bodyPr/>
        <a:lstStyle/>
        <a:p>
          <a:r>
            <a:rPr lang="fr-FR" sz="1800" b="1" i="0" dirty="0">
              <a:latin typeface="Garamond" panose="02020404030301010803" pitchFamily="18" charset="0"/>
            </a:rPr>
            <a:t>Réduire le nombre des déclarations à formuler par les personnes morales</a:t>
          </a:r>
          <a:endParaRPr lang="fr-FR" sz="1800" b="1" dirty="0">
            <a:latin typeface="Garamond" panose="02020404030301010803" pitchFamily="18" charset="0"/>
            <a:cs typeface="Arial" charset="0"/>
          </a:endParaRPr>
        </a:p>
      </dgm:t>
    </dgm:pt>
    <dgm:pt modelId="{AD111291-23C8-4E63-A8F8-16CEA47A93AA}" type="parTrans" cxnId="{144E9430-64FA-42BA-9CA8-255284826CDD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8664A3BF-C3A8-4E2C-BD30-3FEA37C415E7}" type="sibTrans" cxnId="{144E9430-64FA-42BA-9CA8-255284826CDD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6265AF61-312E-4B8F-B6F2-122021BD4C98}">
      <dgm:prSet phldrT="[Texte]" custT="1"/>
      <dgm:spPr/>
      <dgm:t>
        <a:bodyPr/>
        <a:lstStyle/>
        <a:p>
          <a:r>
            <a:rPr lang="fr-FR" sz="1800" b="1" i="0" dirty="0">
              <a:latin typeface="Garamond" panose="02020404030301010803" pitchFamily="18" charset="0"/>
            </a:rPr>
            <a:t>Éviter la procédure de renvoi du procès-verbal au tribunal en cas de dépassement des délais de dépôt du dossier de déclaration</a:t>
          </a:r>
          <a:endParaRPr lang="fr-FR" sz="1800" b="1" dirty="0">
            <a:latin typeface="Garamond" panose="02020404030301010803" pitchFamily="18" charset="0"/>
          </a:endParaRPr>
        </a:p>
      </dgm:t>
    </dgm:pt>
    <dgm:pt modelId="{51362998-4D9E-43A8-B448-E8461B2F9303}" type="parTrans" cxnId="{4AF8945E-1833-455D-AAE8-2C6AA6B99BB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48C9EB99-D6C9-4F58-9168-C869F6BC93C8}" type="sibTrans" cxnId="{4AF8945E-1833-455D-AAE8-2C6AA6B99BBA}">
      <dgm:prSet/>
      <dgm:spPr/>
      <dgm:t>
        <a:bodyPr/>
        <a:lstStyle/>
        <a:p>
          <a:endParaRPr lang="fr-FR" sz="4400">
            <a:latin typeface="Garamond" panose="02020404030301010803" pitchFamily="18" charset="0"/>
          </a:endParaRPr>
        </a:p>
      </dgm:t>
    </dgm:pt>
    <dgm:pt modelId="{A084ECD8-6AD7-44F8-BA71-40ECB5A99D2E}" type="pres">
      <dgm:prSet presAssocID="{1F805002-A2B7-40F3-B822-9A6996D8C808}" presName="Name0" presStyleCnt="0">
        <dgm:presLayoutVars>
          <dgm:chMax/>
          <dgm:chPref/>
          <dgm:dir/>
        </dgm:presLayoutVars>
      </dgm:prSet>
      <dgm:spPr/>
      <dgm:t>
        <a:bodyPr/>
        <a:lstStyle/>
        <a:p>
          <a:endParaRPr lang="fr-FR"/>
        </a:p>
      </dgm:t>
    </dgm:pt>
    <dgm:pt modelId="{3D7AADB9-4BC0-4245-BEAD-1DCC17BF1927}" type="pres">
      <dgm:prSet presAssocID="{505CA7EF-947E-4FA8-BA2D-23A90BF2A27E}" presName="parenttextcomposite" presStyleCnt="0"/>
      <dgm:spPr/>
    </dgm:pt>
    <dgm:pt modelId="{72D96877-822F-4AFD-AA01-AFF7FC14DA78}" type="pres">
      <dgm:prSet presAssocID="{505CA7EF-947E-4FA8-BA2D-23A90BF2A27E}" presName="parenttext" presStyleLbl="revTx" presStyleIdx="0" presStyleCnt="3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070F8DB-F31A-4075-870B-A6FDFD9033ED}" type="pres">
      <dgm:prSet presAssocID="{505CA7EF-947E-4FA8-BA2D-23A90BF2A27E}" presName="parallelogramComposite" presStyleCnt="0"/>
      <dgm:spPr/>
    </dgm:pt>
    <dgm:pt modelId="{DAD7C4B7-5A16-4361-8646-FEADDE7A732B}" type="pres">
      <dgm:prSet presAssocID="{505CA7EF-947E-4FA8-BA2D-23A90BF2A27E}" presName="parallelogram1" presStyleLbl="alignNode1" presStyleIdx="0" presStyleCnt="21"/>
      <dgm:spPr/>
    </dgm:pt>
    <dgm:pt modelId="{6A3F9752-CFD9-43E7-9DDF-BF1BF0BC08F9}" type="pres">
      <dgm:prSet presAssocID="{505CA7EF-947E-4FA8-BA2D-23A90BF2A27E}" presName="parallelogram2" presStyleLbl="alignNode1" presStyleIdx="1" presStyleCnt="21"/>
      <dgm:spPr/>
    </dgm:pt>
    <dgm:pt modelId="{8FC8D015-A746-47CE-B95F-ED240213E0F9}" type="pres">
      <dgm:prSet presAssocID="{505CA7EF-947E-4FA8-BA2D-23A90BF2A27E}" presName="parallelogram3" presStyleLbl="alignNode1" presStyleIdx="2" presStyleCnt="21"/>
      <dgm:spPr/>
    </dgm:pt>
    <dgm:pt modelId="{CC7A7B49-4BA9-4007-9ADE-CFDCF2558C0D}" type="pres">
      <dgm:prSet presAssocID="{505CA7EF-947E-4FA8-BA2D-23A90BF2A27E}" presName="parallelogram4" presStyleLbl="alignNode1" presStyleIdx="3" presStyleCnt="21"/>
      <dgm:spPr/>
    </dgm:pt>
    <dgm:pt modelId="{F784ECC2-086B-41C4-AB3C-34EF910BC99D}" type="pres">
      <dgm:prSet presAssocID="{505CA7EF-947E-4FA8-BA2D-23A90BF2A27E}" presName="parallelogram5" presStyleLbl="alignNode1" presStyleIdx="4" presStyleCnt="21"/>
      <dgm:spPr/>
    </dgm:pt>
    <dgm:pt modelId="{13821E5D-B0BD-4B15-8533-8E5FDC949D52}" type="pres">
      <dgm:prSet presAssocID="{505CA7EF-947E-4FA8-BA2D-23A90BF2A27E}" presName="parallelogram6" presStyleLbl="alignNode1" presStyleIdx="5" presStyleCnt="21"/>
      <dgm:spPr/>
    </dgm:pt>
    <dgm:pt modelId="{EA120682-69D4-4C59-A559-AAA5EF54D014}" type="pres">
      <dgm:prSet presAssocID="{505CA7EF-947E-4FA8-BA2D-23A90BF2A27E}" presName="parallelogram7" presStyleLbl="alignNode1" presStyleIdx="6" presStyleCnt="21"/>
      <dgm:spPr/>
    </dgm:pt>
    <dgm:pt modelId="{C4C223D8-5C96-43C8-81FF-3A5800DC6D7C}" type="pres">
      <dgm:prSet presAssocID="{0CA72B0A-7C6C-46D0-8C3C-0D42F1143298}" presName="sibTrans" presStyleCnt="0"/>
      <dgm:spPr/>
    </dgm:pt>
    <dgm:pt modelId="{DBD9FDDF-2AA0-446D-94D8-EDDFBD48730A}" type="pres">
      <dgm:prSet presAssocID="{2CE4BF9D-400C-4D71-9FE5-CC871E8B5E7D}" presName="parenttextcomposite" presStyleCnt="0"/>
      <dgm:spPr/>
    </dgm:pt>
    <dgm:pt modelId="{E896D950-782A-492A-9BC1-ADF583BDC4C3}" type="pres">
      <dgm:prSet presAssocID="{2CE4BF9D-400C-4D71-9FE5-CC871E8B5E7D}" presName="parenttext" presStyleLbl="revTx" presStyleIdx="1" presStyleCnt="3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575FD80-31DF-47F2-9B6C-F3F387A3F4E9}" type="pres">
      <dgm:prSet presAssocID="{2CE4BF9D-400C-4D71-9FE5-CC871E8B5E7D}" presName="parallelogramComposite" presStyleCnt="0"/>
      <dgm:spPr/>
    </dgm:pt>
    <dgm:pt modelId="{C21FE8CB-6938-49F5-B60E-988EC4BCBD9F}" type="pres">
      <dgm:prSet presAssocID="{2CE4BF9D-400C-4D71-9FE5-CC871E8B5E7D}" presName="parallelogram1" presStyleLbl="alignNode1" presStyleIdx="7" presStyleCnt="21"/>
      <dgm:spPr/>
    </dgm:pt>
    <dgm:pt modelId="{C800B82E-D8A0-450D-BDFB-1380A1E55747}" type="pres">
      <dgm:prSet presAssocID="{2CE4BF9D-400C-4D71-9FE5-CC871E8B5E7D}" presName="parallelogram2" presStyleLbl="alignNode1" presStyleIdx="8" presStyleCnt="21"/>
      <dgm:spPr/>
    </dgm:pt>
    <dgm:pt modelId="{2FB28652-8A60-4ECC-8F1C-3C609FDEF427}" type="pres">
      <dgm:prSet presAssocID="{2CE4BF9D-400C-4D71-9FE5-CC871E8B5E7D}" presName="parallelogram3" presStyleLbl="alignNode1" presStyleIdx="9" presStyleCnt="21"/>
      <dgm:spPr/>
    </dgm:pt>
    <dgm:pt modelId="{E0FCB941-7A74-44ED-AD1A-21FB0466909A}" type="pres">
      <dgm:prSet presAssocID="{2CE4BF9D-400C-4D71-9FE5-CC871E8B5E7D}" presName="parallelogram4" presStyleLbl="alignNode1" presStyleIdx="10" presStyleCnt="21"/>
      <dgm:spPr/>
    </dgm:pt>
    <dgm:pt modelId="{85C0A09F-3836-4B7D-A0A6-356173CC6F7A}" type="pres">
      <dgm:prSet presAssocID="{2CE4BF9D-400C-4D71-9FE5-CC871E8B5E7D}" presName="parallelogram5" presStyleLbl="alignNode1" presStyleIdx="11" presStyleCnt="21"/>
      <dgm:spPr/>
    </dgm:pt>
    <dgm:pt modelId="{E4D3939F-A8A4-47FE-9132-841638FBBD3B}" type="pres">
      <dgm:prSet presAssocID="{2CE4BF9D-400C-4D71-9FE5-CC871E8B5E7D}" presName="parallelogram6" presStyleLbl="alignNode1" presStyleIdx="12" presStyleCnt="21"/>
      <dgm:spPr/>
    </dgm:pt>
    <dgm:pt modelId="{77B3AAE8-347A-4CF0-BB05-CB76048D2760}" type="pres">
      <dgm:prSet presAssocID="{2CE4BF9D-400C-4D71-9FE5-CC871E8B5E7D}" presName="parallelogram7" presStyleLbl="alignNode1" presStyleIdx="13" presStyleCnt="21"/>
      <dgm:spPr/>
    </dgm:pt>
    <dgm:pt modelId="{F208A331-105A-45C2-8E50-E225AB451BA3}" type="pres">
      <dgm:prSet presAssocID="{8664A3BF-C3A8-4E2C-BD30-3FEA37C415E7}" presName="sibTrans" presStyleCnt="0"/>
      <dgm:spPr/>
    </dgm:pt>
    <dgm:pt modelId="{F0EB82CA-5F99-4AD9-A265-65ECE26375D3}" type="pres">
      <dgm:prSet presAssocID="{6265AF61-312E-4B8F-B6F2-122021BD4C98}" presName="parenttextcomposite" presStyleCnt="0"/>
      <dgm:spPr/>
    </dgm:pt>
    <dgm:pt modelId="{95C4ABEF-0CF6-4DE3-90A4-3AF55EB5A043}" type="pres">
      <dgm:prSet presAssocID="{6265AF61-312E-4B8F-B6F2-122021BD4C98}" presName="parenttext" presStyleLbl="revTx" presStyleIdx="2" presStyleCnt="3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F83965C-5841-42E6-804E-6D0B1A1881F4}" type="pres">
      <dgm:prSet presAssocID="{6265AF61-312E-4B8F-B6F2-122021BD4C98}" presName="parallelogramComposite" presStyleCnt="0"/>
      <dgm:spPr/>
    </dgm:pt>
    <dgm:pt modelId="{0157AE20-6009-4D4A-9682-09E75682273C}" type="pres">
      <dgm:prSet presAssocID="{6265AF61-312E-4B8F-B6F2-122021BD4C98}" presName="parallelogram1" presStyleLbl="alignNode1" presStyleIdx="14" presStyleCnt="21"/>
      <dgm:spPr/>
    </dgm:pt>
    <dgm:pt modelId="{C6604993-EEC0-4676-9D85-F65235BCF374}" type="pres">
      <dgm:prSet presAssocID="{6265AF61-312E-4B8F-B6F2-122021BD4C98}" presName="parallelogram2" presStyleLbl="alignNode1" presStyleIdx="15" presStyleCnt="21"/>
      <dgm:spPr/>
    </dgm:pt>
    <dgm:pt modelId="{FA9D9E22-91F4-4954-8E6E-3F761FD821A7}" type="pres">
      <dgm:prSet presAssocID="{6265AF61-312E-4B8F-B6F2-122021BD4C98}" presName="parallelogram3" presStyleLbl="alignNode1" presStyleIdx="16" presStyleCnt="21"/>
      <dgm:spPr/>
    </dgm:pt>
    <dgm:pt modelId="{F215A6C4-3305-44AA-9A38-EB5A8184176D}" type="pres">
      <dgm:prSet presAssocID="{6265AF61-312E-4B8F-B6F2-122021BD4C98}" presName="parallelogram4" presStyleLbl="alignNode1" presStyleIdx="17" presStyleCnt="21"/>
      <dgm:spPr/>
    </dgm:pt>
    <dgm:pt modelId="{3158E741-8175-4E71-8C37-69A0161C2909}" type="pres">
      <dgm:prSet presAssocID="{6265AF61-312E-4B8F-B6F2-122021BD4C98}" presName="parallelogram5" presStyleLbl="alignNode1" presStyleIdx="18" presStyleCnt="21"/>
      <dgm:spPr/>
    </dgm:pt>
    <dgm:pt modelId="{AEC6404D-EFE3-4BE6-A5F1-FDE012734605}" type="pres">
      <dgm:prSet presAssocID="{6265AF61-312E-4B8F-B6F2-122021BD4C98}" presName="parallelogram6" presStyleLbl="alignNode1" presStyleIdx="19" presStyleCnt="21"/>
      <dgm:spPr/>
    </dgm:pt>
    <dgm:pt modelId="{0EF85300-B2F2-46F9-A1C8-5AF3A4E77AAE}" type="pres">
      <dgm:prSet presAssocID="{6265AF61-312E-4B8F-B6F2-122021BD4C98}" presName="parallelogram7" presStyleLbl="alignNode1" presStyleIdx="20" presStyleCnt="21"/>
      <dgm:spPr/>
    </dgm:pt>
  </dgm:ptLst>
  <dgm:cxnLst>
    <dgm:cxn modelId="{638EF574-79B9-4608-9250-B6F8DEB4B941}" type="presOf" srcId="{6265AF61-312E-4B8F-B6F2-122021BD4C98}" destId="{95C4ABEF-0CF6-4DE3-90A4-3AF55EB5A043}" srcOrd="0" destOrd="0" presId="urn:microsoft.com/office/officeart/2008/layout/VerticalAccentList"/>
    <dgm:cxn modelId="{B02BE042-670A-4964-96DD-B975120D5704}" type="presOf" srcId="{2CE4BF9D-400C-4D71-9FE5-CC871E8B5E7D}" destId="{E896D950-782A-492A-9BC1-ADF583BDC4C3}" srcOrd="0" destOrd="0" presId="urn:microsoft.com/office/officeart/2008/layout/VerticalAccentList"/>
    <dgm:cxn modelId="{7A489464-6521-4655-AF44-3C44B1248C7A}" srcId="{1F805002-A2B7-40F3-B822-9A6996D8C808}" destId="{505CA7EF-947E-4FA8-BA2D-23A90BF2A27E}" srcOrd="0" destOrd="0" parTransId="{8B842110-C0A6-4D9E-AAE9-0C36364EB002}" sibTransId="{0CA72B0A-7C6C-46D0-8C3C-0D42F1143298}"/>
    <dgm:cxn modelId="{4AF8945E-1833-455D-AAE8-2C6AA6B99BBA}" srcId="{1F805002-A2B7-40F3-B822-9A6996D8C808}" destId="{6265AF61-312E-4B8F-B6F2-122021BD4C98}" srcOrd="2" destOrd="0" parTransId="{51362998-4D9E-43A8-B448-E8461B2F9303}" sibTransId="{48C9EB99-D6C9-4F58-9168-C869F6BC93C8}"/>
    <dgm:cxn modelId="{973356D8-099F-4342-BD7D-435AE87439C4}" type="presOf" srcId="{505CA7EF-947E-4FA8-BA2D-23A90BF2A27E}" destId="{72D96877-822F-4AFD-AA01-AFF7FC14DA78}" srcOrd="0" destOrd="0" presId="urn:microsoft.com/office/officeart/2008/layout/VerticalAccentList"/>
    <dgm:cxn modelId="{144E9430-64FA-42BA-9CA8-255284826CDD}" srcId="{1F805002-A2B7-40F3-B822-9A6996D8C808}" destId="{2CE4BF9D-400C-4D71-9FE5-CC871E8B5E7D}" srcOrd="1" destOrd="0" parTransId="{AD111291-23C8-4E63-A8F8-16CEA47A93AA}" sibTransId="{8664A3BF-C3A8-4E2C-BD30-3FEA37C415E7}"/>
    <dgm:cxn modelId="{AFDDE718-9841-4CDD-AEB5-FCB9E60C10C5}" type="presOf" srcId="{1F805002-A2B7-40F3-B822-9A6996D8C808}" destId="{A084ECD8-6AD7-44F8-BA71-40ECB5A99D2E}" srcOrd="0" destOrd="0" presId="urn:microsoft.com/office/officeart/2008/layout/VerticalAccentList"/>
    <dgm:cxn modelId="{F8D34DD3-54F8-450F-862C-C04FFAB7E791}" type="presParOf" srcId="{A084ECD8-6AD7-44F8-BA71-40ECB5A99D2E}" destId="{3D7AADB9-4BC0-4245-BEAD-1DCC17BF1927}" srcOrd="0" destOrd="0" presId="urn:microsoft.com/office/officeart/2008/layout/VerticalAccentList"/>
    <dgm:cxn modelId="{723D3FD1-DF97-4979-931F-40BD3A6DF015}" type="presParOf" srcId="{3D7AADB9-4BC0-4245-BEAD-1DCC17BF1927}" destId="{72D96877-822F-4AFD-AA01-AFF7FC14DA78}" srcOrd="0" destOrd="0" presId="urn:microsoft.com/office/officeart/2008/layout/VerticalAccentList"/>
    <dgm:cxn modelId="{A15F696F-2073-47CC-9213-30FCF8EF18EC}" type="presParOf" srcId="{A084ECD8-6AD7-44F8-BA71-40ECB5A99D2E}" destId="{8070F8DB-F31A-4075-870B-A6FDFD9033ED}" srcOrd="1" destOrd="0" presId="urn:microsoft.com/office/officeart/2008/layout/VerticalAccentList"/>
    <dgm:cxn modelId="{ADABBEF5-63CC-499E-A316-DA74664F796C}" type="presParOf" srcId="{8070F8DB-F31A-4075-870B-A6FDFD9033ED}" destId="{DAD7C4B7-5A16-4361-8646-FEADDE7A732B}" srcOrd="0" destOrd="0" presId="urn:microsoft.com/office/officeart/2008/layout/VerticalAccentList"/>
    <dgm:cxn modelId="{1D3FCAED-B73B-4FB1-B18E-C3F5D617511E}" type="presParOf" srcId="{8070F8DB-F31A-4075-870B-A6FDFD9033ED}" destId="{6A3F9752-CFD9-43E7-9DDF-BF1BF0BC08F9}" srcOrd="1" destOrd="0" presId="urn:microsoft.com/office/officeart/2008/layout/VerticalAccentList"/>
    <dgm:cxn modelId="{D228A9C1-1B65-4EEF-A755-0D961D2B75AD}" type="presParOf" srcId="{8070F8DB-F31A-4075-870B-A6FDFD9033ED}" destId="{8FC8D015-A746-47CE-B95F-ED240213E0F9}" srcOrd="2" destOrd="0" presId="urn:microsoft.com/office/officeart/2008/layout/VerticalAccentList"/>
    <dgm:cxn modelId="{1BB15D5C-5A0F-4A0F-A176-8D5560A7FA25}" type="presParOf" srcId="{8070F8DB-F31A-4075-870B-A6FDFD9033ED}" destId="{CC7A7B49-4BA9-4007-9ADE-CFDCF2558C0D}" srcOrd="3" destOrd="0" presId="urn:microsoft.com/office/officeart/2008/layout/VerticalAccentList"/>
    <dgm:cxn modelId="{C15B9B2F-ECFF-40E0-9057-0B6F3A0EE9A5}" type="presParOf" srcId="{8070F8DB-F31A-4075-870B-A6FDFD9033ED}" destId="{F784ECC2-086B-41C4-AB3C-34EF910BC99D}" srcOrd="4" destOrd="0" presId="urn:microsoft.com/office/officeart/2008/layout/VerticalAccentList"/>
    <dgm:cxn modelId="{E3FEBE91-9A66-49E3-8C2A-52B8BC1255AF}" type="presParOf" srcId="{8070F8DB-F31A-4075-870B-A6FDFD9033ED}" destId="{13821E5D-B0BD-4B15-8533-8E5FDC949D52}" srcOrd="5" destOrd="0" presId="urn:microsoft.com/office/officeart/2008/layout/VerticalAccentList"/>
    <dgm:cxn modelId="{7B0E587D-1ACF-415B-B735-AAB826901A16}" type="presParOf" srcId="{8070F8DB-F31A-4075-870B-A6FDFD9033ED}" destId="{EA120682-69D4-4C59-A559-AAA5EF54D014}" srcOrd="6" destOrd="0" presId="urn:microsoft.com/office/officeart/2008/layout/VerticalAccentList"/>
    <dgm:cxn modelId="{9C9BDE82-EC22-436B-95D6-27F7BC9FF57B}" type="presParOf" srcId="{A084ECD8-6AD7-44F8-BA71-40ECB5A99D2E}" destId="{C4C223D8-5C96-43C8-81FF-3A5800DC6D7C}" srcOrd="2" destOrd="0" presId="urn:microsoft.com/office/officeart/2008/layout/VerticalAccentList"/>
    <dgm:cxn modelId="{BB510225-1FDC-4F95-9093-B5E35A59FE68}" type="presParOf" srcId="{A084ECD8-6AD7-44F8-BA71-40ECB5A99D2E}" destId="{DBD9FDDF-2AA0-446D-94D8-EDDFBD48730A}" srcOrd="3" destOrd="0" presId="urn:microsoft.com/office/officeart/2008/layout/VerticalAccentList"/>
    <dgm:cxn modelId="{095265D9-667D-4C8D-8965-4846BBB0C1C8}" type="presParOf" srcId="{DBD9FDDF-2AA0-446D-94D8-EDDFBD48730A}" destId="{E896D950-782A-492A-9BC1-ADF583BDC4C3}" srcOrd="0" destOrd="0" presId="urn:microsoft.com/office/officeart/2008/layout/VerticalAccentList"/>
    <dgm:cxn modelId="{8C4184A5-859D-4113-B019-3CF8F478875B}" type="presParOf" srcId="{A084ECD8-6AD7-44F8-BA71-40ECB5A99D2E}" destId="{6575FD80-31DF-47F2-9B6C-F3F387A3F4E9}" srcOrd="4" destOrd="0" presId="urn:microsoft.com/office/officeart/2008/layout/VerticalAccentList"/>
    <dgm:cxn modelId="{8B9D49B5-FDE6-4AA3-A0DE-68FF814A0B5B}" type="presParOf" srcId="{6575FD80-31DF-47F2-9B6C-F3F387A3F4E9}" destId="{C21FE8CB-6938-49F5-B60E-988EC4BCBD9F}" srcOrd="0" destOrd="0" presId="urn:microsoft.com/office/officeart/2008/layout/VerticalAccentList"/>
    <dgm:cxn modelId="{C148B19B-3126-46B5-965E-F4C94260C6D0}" type="presParOf" srcId="{6575FD80-31DF-47F2-9B6C-F3F387A3F4E9}" destId="{C800B82E-D8A0-450D-BDFB-1380A1E55747}" srcOrd="1" destOrd="0" presId="urn:microsoft.com/office/officeart/2008/layout/VerticalAccentList"/>
    <dgm:cxn modelId="{A16A081F-1284-4456-A370-9C6ECE99784A}" type="presParOf" srcId="{6575FD80-31DF-47F2-9B6C-F3F387A3F4E9}" destId="{2FB28652-8A60-4ECC-8F1C-3C609FDEF427}" srcOrd="2" destOrd="0" presId="urn:microsoft.com/office/officeart/2008/layout/VerticalAccentList"/>
    <dgm:cxn modelId="{8DE4B8AA-C020-4569-90DE-34DFD82291B7}" type="presParOf" srcId="{6575FD80-31DF-47F2-9B6C-F3F387A3F4E9}" destId="{E0FCB941-7A74-44ED-AD1A-21FB0466909A}" srcOrd="3" destOrd="0" presId="urn:microsoft.com/office/officeart/2008/layout/VerticalAccentList"/>
    <dgm:cxn modelId="{DCCA6915-14A3-4261-9A27-E6C5C375DE87}" type="presParOf" srcId="{6575FD80-31DF-47F2-9B6C-F3F387A3F4E9}" destId="{85C0A09F-3836-4B7D-A0A6-356173CC6F7A}" srcOrd="4" destOrd="0" presId="urn:microsoft.com/office/officeart/2008/layout/VerticalAccentList"/>
    <dgm:cxn modelId="{559C75C5-0494-4DF4-BDFE-60DD15DB2998}" type="presParOf" srcId="{6575FD80-31DF-47F2-9B6C-F3F387A3F4E9}" destId="{E4D3939F-A8A4-47FE-9132-841638FBBD3B}" srcOrd="5" destOrd="0" presId="urn:microsoft.com/office/officeart/2008/layout/VerticalAccentList"/>
    <dgm:cxn modelId="{55EA0B61-ADA8-4A9A-849B-E8B3E3F9FAD0}" type="presParOf" srcId="{6575FD80-31DF-47F2-9B6C-F3F387A3F4E9}" destId="{77B3AAE8-347A-4CF0-BB05-CB76048D2760}" srcOrd="6" destOrd="0" presId="urn:microsoft.com/office/officeart/2008/layout/VerticalAccentList"/>
    <dgm:cxn modelId="{971E773B-0DFE-4C33-9561-0ED42B4A4CD5}" type="presParOf" srcId="{A084ECD8-6AD7-44F8-BA71-40ECB5A99D2E}" destId="{F208A331-105A-45C2-8E50-E225AB451BA3}" srcOrd="5" destOrd="0" presId="urn:microsoft.com/office/officeart/2008/layout/VerticalAccentList"/>
    <dgm:cxn modelId="{201BDF0A-C49D-40FF-AD18-A910EBA0F13E}" type="presParOf" srcId="{A084ECD8-6AD7-44F8-BA71-40ECB5A99D2E}" destId="{F0EB82CA-5F99-4AD9-A265-65ECE26375D3}" srcOrd="6" destOrd="0" presId="urn:microsoft.com/office/officeart/2008/layout/VerticalAccentList"/>
    <dgm:cxn modelId="{3FCD4D76-3C45-4D4F-BA38-5AF56CDB4330}" type="presParOf" srcId="{F0EB82CA-5F99-4AD9-A265-65ECE26375D3}" destId="{95C4ABEF-0CF6-4DE3-90A4-3AF55EB5A043}" srcOrd="0" destOrd="0" presId="urn:microsoft.com/office/officeart/2008/layout/VerticalAccentList"/>
    <dgm:cxn modelId="{6B4A933E-1A8C-4B7A-8681-A93E7D60AD4D}" type="presParOf" srcId="{A084ECD8-6AD7-44F8-BA71-40ECB5A99D2E}" destId="{3F83965C-5841-42E6-804E-6D0B1A1881F4}" srcOrd="7" destOrd="0" presId="urn:microsoft.com/office/officeart/2008/layout/VerticalAccentList"/>
    <dgm:cxn modelId="{979AE47B-3764-4822-83BD-0752F09F269F}" type="presParOf" srcId="{3F83965C-5841-42E6-804E-6D0B1A1881F4}" destId="{0157AE20-6009-4D4A-9682-09E75682273C}" srcOrd="0" destOrd="0" presId="urn:microsoft.com/office/officeart/2008/layout/VerticalAccentList"/>
    <dgm:cxn modelId="{45E3748D-2517-4DF4-BFB8-3BE190DB34EF}" type="presParOf" srcId="{3F83965C-5841-42E6-804E-6D0B1A1881F4}" destId="{C6604993-EEC0-4676-9D85-F65235BCF374}" srcOrd="1" destOrd="0" presId="urn:microsoft.com/office/officeart/2008/layout/VerticalAccentList"/>
    <dgm:cxn modelId="{CC9CDF24-0004-4A70-BD6D-E7D5FA22847C}" type="presParOf" srcId="{3F83965C-5841-42E6-804E-6D0B1A1881F4}" destId="{FA9D9E22-91F4-4954-8E6E-3F761FD821A7}" srcOrd="2" destOrd="0" presId="urn:microsoft.com/office/officeart/2008/layout/VerticalAccentList"/>
    <dgm:cxn modelId="{64656ADB-0060-44B0-98BC-6FC8A3D07D8D}" type="presParOf" srcId="{3F83965C-5841-42E6-804E-6D0B1A1881F4}" destId="{F215A6C4-3305-44AA-9A38-EB5A8184176D}" srcOrd="3" destOrd="0" presId="urn:microsoft.com/office/officeart/2008/layout/VerticalAccentList"/>
    <dgm:cxn modelId="{F124B522-7CB8-4108-BF03-8B075D236F88}" type="presParOf" srcId="{3F83965C-5841-42E6-804E-6D0B1A1881F4}" destId="{3158E741-8175-4E71-8C37-69A0161C2909}" srcOrd="4" destOrd="0" presId="urn:microsoft.com/office/officeart/2008/layout/VerticalAccentList"/>
    <dgm:cxn modelId="{EA90EF94-ECE3-41A6-A68A-2BB552747CE3}" type="presParOf" srcId="{3F83965C-5841-42E6-804E-6D0B1A1881F4}" destId="{AEC6404D-EFE3-4BE6-A5F1-FDE012734605}" srcOrd="5" destOrd="0" presId="urn:microsoft.com/office/officeart/2008/layout/VerticalAccentList"/>
    <dgm:cxn modelId="{70BBD35B-BD9B-42DE-B2A7-F8FAA4B31B13}" type="presParOf" srcId="{3F83965C-5841-42E6-804E-6D0B1A1881F4}" destId="{0EF85300-B2F2-46F9-A1C8-5AF3A4E77AAE}" srcOrd="6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92FF4A-66C8-40FE-A406-E75438041D31}">
      <dsp:nvSpPr>
        <dsp:cNvPr id="0" name=""/>
        <dsp:cNvSpPr/>
      </dsp:nvSpPr>
      <dsp:spPr>
        <a:xfrm>
          <a:off x="6267" y="548048"/>
          <a:ext cx="1873247" cy="1492744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fr-FR" alt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Externalisation du Front Office de la NARSA auprès de ABB - BC</a:t>
          </a:r>
          <a:endParaRPr lang="fr-FR" sz="1700" kern="1200" dirty="0"/>
        </a:p>
      </dsp:txBody>
      <dsp:txXfrm>
        <a:off x="49988" y="591769"/>
        <a:ext cx="1785805" cy="1405302"/>
      </dsp:txXfrm>
    </dsp:sp>
    <dsp:sp modelId="{D58096A4-A505-4D68-8F5E-E48DC1F436B8}">
      <dsp:nvSpPr>
        <dsp:cNvPr id="0" name=""/>
        <dsp:cNvSpPr/>
      </dsp:nvSpPr>
      <dsp:spPr>
        <a:xfrm>
          <a:off x="2066839" y="1062137"/>
          <a:ext cx="397128" cy="4645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kern="1200"/>
        </a:p>
      </dsp:txBody>
      <dsp:txXfrm>
        <a:off x="2066839" y="1155050"/>
        <a:ext cx="277990" cy="278739"/>
      </dsp:txXfrm>
    </dsp:sp>
    <dsp:sp modelId="{AEC9B9DB-6CB4-42A9-A857-216C6FC839CC}">
      <dsp:nvSpPr>
        <dsp:cNvPr id="0" name=""/>
        <dsp:cNvSpPr/>
      </dsp:nvSpPr>
      <dsp:spPr>
        <a:xfrm>
          <a:off x="2628814" y="548048"/>
          <a:ext cx="1873247" cy="1492744"/>
        </a:xfrm>
        <a:prstGeom prst="roundRect">
          <a:avLst>
            <a:gd name="adj" fmla="val 10000"/>
          </a:avLst>
        </a:prstGeom>
        <a:solidFill>
          <a:schemeClr val="accent3">
            <a:hueOff val="1355300"/>
            <a:satOff val="50000"/>
            <a:lumOff val="-735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Simplification et dématérialisation des procédures</a:t>
          </a:r>
          <a:endParaRPr lang="fr-FR" sz="1700" kern="1200" dirty="0"/>
        </a:p>
      </dsp:txBody>
      <dsp:txXfrm>
        <a:off x="2672535" y="591769"/>
        <a:ext cx="1785805" cy="1405302"/>
      </dsp:txXfrm>
    </dsp:sp>
    <dsp:sp modelId="{337D43C7-374C-4C3C-AF56-95F4908F97CF}">
      <dsp:nvSpPr>
        <dsp:cNvPr id="0" name=""/>
        <dsp:cNvSpPr/>
      </dsp:nvSpPr>
      <dsp:spPr>
        <a:xfrm>
          <a:off x="4689386" y="1062137"/>
          <a:ext cx="397128" cy="4645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fr-FR" sz="1400" kern="1200"/>
        </a:p>
      </dsp:txBody>
      <dsp:txXfrm>
        <a:off x="4689386" y="1155050"/>
        <a:ext cx="277990" cy="278739"/>
      </dsp:txXfrm>
    </dsp:sp>
    <dsp:sp modelId="{7662DDE5-53FB-40F5-AFA7-C741D55AF563}">
      <dsp:nvSpPr>
        <dsp:cNvPr id="0" name=""/>
        <dsp:cNvSpPr/>
      </dsp:nvSpPr>
      <dsp:spPr>
        <a:xfrm>
          <a:off x="5251360" y="548048"/>
          <a:ext cx="1873247" cy="1492744"/>
        </a:xfrm>
        <a:prstGeom prst="roundRect">
          <a:avLst>
            <a:gd name="adj" fmla="val 10000"/>
          </a:avLst>
        </a:prstGeom>
        <a:solidFill>
          <a:schemeClr val="accent3">
            <a:hueOff val="2710599"/>
            <a:satOff val="100000"/>
            <a:lumOff val="-1470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100000"/>
            </a:lnSpc>
            <a:spcBef>
              <a:spcPct val="0"/>
            </a:spcBef>
            <a:spcAft>
              <a:spcPts val="600"/>
            </a:spcAft>
          </a:pPr>
          <a:r>
            <a:rPr lang="fr-FR" sz="1700" kern="1200" dirty="0">
              <a:latin typeface="Arial" panose="020B0604020202020204" pitchFamily="34" charset="0"/>
              <a:cs typeface="Arial" panose="020B0604020202020204" pitchFamily="34" charset="0"/>
            </a:rPr>
            <a:t>Elargissement des points de contact à 800 agences au lieu de 75 CI</a:t>
          </a:r>
          <a:endParaRPr lang="fr-FR" sz="1700" kern="1200" dirty="0"/>
        </a:p>
      </dsp:txBody>
      <dsp:txXfrm>
        <a:off x="5295081" y="591769"/>
        <a:ext cx="1785805" cy="140530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BBCC1D-F983-4F37-A766-2EB6B2E6E57B}">
      <dsp:nvSpPr>
        <dsp:cNvPr id="0" name=""/>
        <dsp:cNvSpPr/>
      </dsp:nvSpPr>
      <dsp:spPr>
        <a:xfrm rot="5400000">
          <a:off x="1607920" y="1137299"/>
          <a:ext cx="1005843" cy="114511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405DD4-4D7A-4454-B6B3-2B956255F6B6}">
      <dsp:nvSpPr>
        <dsp:cNvPr id="0" name=""/>
        <dsp:cNvSpPr/>
      </dsp:nvSpPr>
      <dsp:spPr>
        <a:xfrm>
          <a:off x="1341433" y="22301"/>
          <a:ext cx="1693247" cy="1185218"/>
        </a:xfrm>
        <a:prstGeom prst="roundRect">
          <a:avLst>
            <a:gd name="adj" fmla="val 16670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>
              <a:latin typeface="Garamond" panose="02020404030301010803" pitchFamily="18" charset="0"/>
            </a:rPr>
            <a:t>Déclaration de vente</a:t>
          </a:r>
        </a:p>
      </dsp:txBody>
      <dsp:txXfrm>
        <a:off x="1399301" y="80169"/>
        <a:ext cx="1577511" cy="1069482"/>
      </dsp:txXfrm>
    </dsp:sp>
    <dsp:sp modelId="{DACD0B8D-AD80-471F-AE66-9F192E4F0214}">
      <dsp:nvSpPr>
        <dsp:cNvPr id="0" name=""/>
        <dsp:cNvSpPr/>
      </dsp:nvSpPr>
      <dsp:spPr>
        <a:xfrm>
          <a:off x="3034681" y="135339"/>
          <a:ext cx="1231506" cy="9579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91DCC2-D51F-495C-BC20-C7CE891CE269}">
      <dsp:nvSpPr>
        <dsp:cNvPr id="0" name=""/>
        <dsp:cNvSpPr/>
      </dsp:nvSpPr>
      <dsp:spPr>
        <a:xfrm rot="5400000">
          <a:off x="3011803" y="2468690"/>
          <a:ext cx="1005843" cy="114511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52377"/>
            <a:satOff val="-2891"/>
            <a:lumOff val="111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637D3E-87F0-4DEF-8416-1337062BB0F3}">
      <dsp:nvSpPr>
        <dsp:cNvPr id="0" name=""/>
        <dsp:cNvSpPr/>
      </dsp:nvSpPr>
      <dsp:spPr>
        <a:xfrm>
          <a:off x="2745315" y="1353693"/>
          <a:ext cx="1693247" cy="1185218"/>
        </a:xfrm>
        <a:prstGeom prst="roundRect">
          <a:avLst>
            <a:gd name="adj" fmla="val 16670"/>
          </a:avLst>
        </a:prstGeom>
        <a:solidFill>
          <a:schemeClr val="accent5">
            <a:shade val="80000"/>
            <a:hueOff val="174641"/>
            <a:satOff val="-3128"/>
            <a:lumOff val="132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>
              <a:latin typeface="Garamond" panose="02020404030301010803" pitchFamily="18" charset="0"/>
            </a:rPr>
            <a:t>Déclaration d’achat</a:t>
          </a:r>
        </a:p>
      </dsp:txBody>
      <dsp:txXfrm>
        <a:off x="2803183" y="1411561"/>
        <a:ext cx="1577511" cy="1069482"/>
      </dsp:txXfrm>
    </dsp:sp>
    <dsp:sp modelId="{436F7B04-D0BF-49EC-B5C2-D1F0FA812532}">
      <dsp:nvSpPr>
        <dsp:cNvPr id="0" name=""/>
        <dsp:cNvSpPr/>
      </dsp:nvSpPr>
      <dsp:spPr>
        <a:xfrm>
          <a:off x="4438563" y="1466730"/>
          <a:ext cx="1231506" cy="9579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8FBF50-7F88-41DF-916A-9DAA96CF7A51}">
      <dsp:nvSpPr>
        <dsp:cNvPr id="0" name=""/>
        <dsp:cNvSpPr/>
      </dsp:nvSpPr>
      <dsp:spPr>
        <a:xfrm>
          <a:off x="4149197" y="2685084"/>
          <a:ext cx="1693247" cy="1185218"/>
        </a:xfrm>
        <a:prstGeom prst="roundRect">
          <a:avLst>
            <a:gd name="adj" fmla="val 16670"/>
          </a:avLst>
        </a:prstGeom>
        <a:solidFill>
          <a:schemeClr val="accent5">
            <a:shade val="80000"/>
            <a:hueOff val="349283"/>
            <a:satOff val="-6256"/>
            <a:lumOff val="265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>
              <a:latin typeface="Garamond" panose="02020404030301010803" pitchFamily="18" charset="0"/>
            </a:rPr>
            <a:t>Dépôt de dossier</a:t>
          </a:r>
        </a:p>
      </dsp:txBody>
      <dsp:txXfrm>
        <a:off x="4207065" y="2742952"/>
        <a:ext cx="1577511" cy="106948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ABBCC1D-F983-4F37-A766-2EB6B2E6E57B}">
      <dsp:nvSpPr>
        <dsp:cNvPr id="0" name=""/>
        <dsp:cNvSpPr/>
      </dsp:nvSpPr>
      <dsp:spPr>
        <a:xfrm rot="5400000">
          <a:off x="1607920" y="1137299"/>
          <a:ext cx="1005843" cy="114511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9405DD4-4D7A-4454-B6B3-2B956255F6B6}">
      <dsp:nvSpPr>
        <dsp:cNvPr id="0" name=""/>
        <dsp:cNvSpPr/>
      </dsp:nvSpPr>
      <dsp:spPr>
        <a:xfrm>
          <a:off x="1341433" y="22301"/>
          <a:ext cx="1693247" cy="1185218"/>
        </a:xfrm>
        <a:prstGeom prst="roundRect">
          <a:avLst>
            <a:gd name="adj" fmla="val 16670"/>
          </a:avLst>
        </a:prstGeom>
        <a:solidFill>
          <a:schemeClr val="accent5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>
              <a:latin typeface="Garamond" panose="02020404030301010803" pitchFamily="18" charset="0"/>
            </a:rPr>
            <a:t>Déclaration de vente</a:t>
          </a:r>
        </a:p>
      </dsp:txBody>
      <dsp:txXfrm>
        <a:off x="1399301" y="80169"/>
        <a:ext cx="1577511" cy="1069482"/>
      </dsp:txXfrm>
    </dsp:sp>
    <dsp:sp modelId="{DACD0B8D-AD80-471F-AE66-9F192E4F0214}">
      <dsp:nvSpPr>
        <dsp:cNvPr id="0" name=""/>
        <dsp:cNvSpPr/>
      </dsp:nvSpPr>
      <dsp:spPr>
        <a:xfrm>
          <a:off x="3034681" y="135339"/>
          <a:ext cx="1231506" cy="9579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891DCC2-D51F-495C-BC20-C7CE891CE269}">
      <dsp:nvSpPr>
        <dsp:cNvPr id="0" name=""/>
        <dsp:cNvSpPr/>
      </dsp:nvSpPr>
      <dsp:spPr>
        <a:xfrm rot="5400000">
          <a:off x="3011803" y="2468690"/>
          <a:ext cx="1005843" cy="1145116"/>
        </a:xfrm>
        <a:prstGeom prst="bentUpArrow">
          <a:avLst>
            <a:gd name="adj1" fmla="val 32840"/>
            <a:gd name="adj2" fmla="val 25000"/>
            <a:gd name="adj3" fmla="val 35780"/>
          </a:avLst>
        </a:prstGeom>
        <a:solidFill>
          <a:schemeClr val="accent5">
            <a:tint val="50000"/>
            <a:hueOff val="52377"/>
            <a:satOff val="-2891"/>
            <a:lumOff val="1116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F637D3E-87F0-4DEF-8416-1337062BB0F3}">
      <dsp:nvSpPr>
        <dsp:cNvPr id="0" name=""/>
        <dsp:cNvSpPr/>
      </dsp:nvSpPr>
      <dsp:spPr>
        <a:xfrm>
          <a:off x="2745315" y="1353693"/>
          <a:ext cx="1693247" cy="1185218"/>
        </a:xfrm>
        <a:prstGeom prst="roundRect">
          <a:avLst>
            <a:gd name="adj" fmla="val 16670"/>
          </a:avLst>
        </a:prstGeom>
        <a:solidFill>
          <a:schemeClr val="accent5">
            <a:shade val="80000"/>
            <a:hueOff val="174641"/>
            <a:satOff val="-3128"/>
            <a:lumOff val="1329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>
              <a:latin typeface="Garamond" panose="02020404030301010803" pitchFamily="18" charset="0"/>
            </a:rPr>
            <a:t>Déclaration d’achat</a:t>
          </a:r>
        </a:p>
      </dsp:txBody>
      <dsp:txXfrm>
        <a:off x="2803183" y="1411561"/>
        <a:ext cx="1577511" cy="1069482"/>
      </dsp:txXfrm>
    </dsp:sp>
    <dsp:sp modelId="{436F7B04-D0BF-49EC-B5C2-D1F0FA812532}">
      <dsp:nvSpPr>
        <dsp:cNvPr id="0" name=""/>
        <dsp:cNvSpPr/>
      </dsp:nvSpPr>
      <dsp:spPr>
        <a:xfrm>
          <a:off x="4438563" y="1466730"/>
          <a:ext cx="1231506" cy="9579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B8FBF50-7F88-41DF-916A-9DAA96CF7A51}">
      <dsp:nvSpPr>
        <dsp:cNvPr id="0" name=""/>
        <dsp:cNvSpPr/>
      </dsp:nvSpPr>
      <dsp:spPr>
        <a:xfrm>
          <a:off x="4149197" y="2685084"/>
          <a:ext cx="1693247" cy="1185218"/>
        </a:xfrm>
        <a:prstGeom prst="roundRect">
          <a:avLst>
            <a:gd name="adj" fmla="val 16670"/>
          </a:avLst>
        </a:prstGeom>
        <a:solidFill>
          <a:schemeClr val="accent5">
            <a:shade val="80000"/>
            <a:hueOff val="349283"/>
            <a:satOff val="-6256"/>
            <a:lumOff val="2658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b="1" kern="1200" dirty="0">
              <a:latin typeface="Garamond" panose="02020404030301010803" pitchFamily="18" charset="0"/>
            </a:rPr>
            <a:t>Dépôt de dossier</a:t>
          </a:r>
        </a:p>
      </dsp:txBody>
      <dsp:txXfrm>
        <a:off x="4207065" y="2742952"/>
        <a:ext cx="1577511" cy="106948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ADDE82-D266-466D-89FB-AD4C0EB959B4}">
      <dsp:nvSpPr>
        <dsp:cNvPr id="0" name=""/>
        <dsp:cNvSpPr/>
      </dsp:nvSpPr>
      <dsp:spPr>
        <a:xfrm>
          <a:off x="0" y="1112019"/>
          <a:ext cx="712946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950FCE-59EE-4705-99EE-52362EB734A4}">
      <dsp:nvSpPr>
        <dsp:cNvPr id="0" name=""/>
        <dsp:cNvSpPr/>
      </dsp:nvSpPr>
      <dsp:spPr>
        <a:xfrm>
          <a:off x="356125" y="37349"/>
          <a:ext cx="4985750" cy="1340350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634" tIns="0" rIns="18863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i="0" kern="1200" dirty="0" smtClean="0">
              <a:latin typeface="Garamond" panose="02020404030301010803" pitchFamily="18" charset="0"/>
            </a:rPr>
            <a:t>Faciliter l’accès à l’information</a:t>
          </a:r>
          <a:endParaRPr lang="fr-FR" sz="1800" b="1" kern="1200" dirty="0">
            <a:latin typeface="Garamond" panose="02020404030301010803" pitchFamily="18" charset="0"/>
            <a:cs typeface="Arial" charset="0"/>
          </a:endParaRPr>
        </a:p>
      </dsp:txBody>
      <dsp:txXfrm>
        <a:off x="421555" y="102779"/>
        <a:ext cx="4854890" cy="1209490"/>
      </dsp:txXfrm>
    </dsp:sp>
    <dsp:sp modelId="{17B8CB20-D53D-4DD9-BC57-5EF611DBB061}">
      <dsp:nvSpPr>
        <dsp:cNvPr id="0" name=""/>
        <dsp:cNvSpPr/>
      </dsp:nvSpPr>
      <dsp:spPr>
        <a:xfrm>
          <a:off x="0" y="2737489"/>
          <a:ext cx="7129463" cy="453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BD5A28-16F5-4BB2-BFD3-3F969D43019F}">
      <dsp:nvSpPr>
        <dsp:cNvPr id="0" name=""/>
        <dsp:cNvSpPr/>
      </dsp:nvSpPr>
      <dsp:spPr>
        <a:xfrm>
          <a:off x="356125" y="1662819"/>
          <a:ext cx="4985750" cy="1340350"/>
        </a:xfrm>
        <a:prstGeom prst="round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634" tIns="0" rIns="18863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0" i="0" kern="1200" dirty="0" smtClean="0">
              <a:latin typeface="Garamond" panose="02020404030301010803" pitchFamily="18" charset="0"/>
            </a:rPr>
            <a:t>Permettre de connaitre l’état des oppositions </a:t>
          </a:r>
          <a:endParaRPr lang="fr-FR" sz="1800" b="1" kern="1200" dirty="0">
            <a:latin typeface="Garamond" panose="02020404030301010803" pitchFamily="18" charset="0"/>
            <a:cs typeface="Arial" charset="0"/>
          </a:endParaRPr>
        </a:p>
      </dsp:txBody>
      <dsp:txXfrm>
        <a:off x="421555" y="1728249"/>
        <a:ext cx="4854890" cy="12094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ADDE82-D266-466D-89FB-AD4C0EB959B4}">
      <dsp:nvSpPr>
        <dsp:cNvPr id="0" name=""/>
        <dsp:cNvSpPr/>
      </dsp:nvSpPr>
      <dsp:spPr>
        <a:xfrm>
          <a:off x="0" y="890233"/>
          <a:ext cx="7129463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950FCE-59EE-4705-99EE-52362EB734A4}">
      <dsp:nvSpPr>
        <dsp:cNvPr id="0" name=""/>
        <dsp:cNvSpPr/>
      </dsp:nvSpPr>
      <dsp:spPr>
        <a:xfrm>
          <a:off x="356125" y="54378"/>
          <a:ext cx="4985750" cy="104249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634" tIns="0" rIns="188634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>
              <a:solidFill>
                <a:schemeClr val="bg1"/>
              </a:solidFill>
              <a:latin typeface="Garamond" panose="02020404030301010803" pitchFamily="18" charset="0"/>
            </a:rPr>
            <a:t>Suivi des dossiers de permis de conduire </a:t>
          </a:r>
          <a:endParaRPr lang="fr-FR" sz="2000" b="1" kern="1200" dirty="0">
            <a:solidFill>
              <a:schemeClr val="bg1"/>
            </a:solidFill>
            <a:latin typeface="Garamond" panose="02020404030301010803" pitchFamily="18" charset="0"/>
            <a:cs typeface="Arial" charset="0"/>
          </a:endParaRPr>
        </a:p>
      </dsp:txBody>
      <dsp:txXfrm>
        <a:off x="407015" y="105268"/>
        <a:ext cx="4883970" cy="940714"/>
      </dsp:txXfrm>
    </dsp:sp>
    <dsp:sp modelId="{17B8CB20-D53D-4DD9-BC57-5EF611DBB061}">
      <dsp:nvSpPr>
        <dsp:cNvPr id="0" name=""/>
        <dsp:cNvSpPr/>
      </dsp:nvSpPr>
      <dsp:spPr>
        <a:xfrm>
          <a:off x="0" y="2154487"/>
          <a:ext cx="7129463" cy="35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BD5A28-16F5-4BB2-BFD3-3F969D43019F}">
      <dsp:nvSpPr>
        <dsp:cNvPr id="0" name=""/>
        <dsp:cNvSpPr/>
      </dsp:nvSpPr>
      <dsp:spPr>
        <a:xfrm>
          <a:off x="356125" y="1318633"/>
          <a:ext cx="4985750" cy="1042494"/>
        </a:xfrm>
        <a:prstGeom prst="round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8634" tIns="0" rIns="188634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2000" kern="1200" dirty="0" smtClean="0">
              <a:solidFill>
                <a:schemeClr val="bg1"/>
              </a:solidFill>
              <a:latin typeface="Garamond" panose="02020404030301010803" pitchFamily="18" charset="0"/>
            </a:rPr>
            <a:t>Suivi des dossiers de carte grise</a:t>
          </a:r>
          <a:endParaRPr lang="fr-FR" sz="2000" b="1" kern="1200" dirty="0">
            <a:solidFill>
              <a:schemeClr val="bg1"/>
            </a:solidFill>
            <a:latin typeface="Garamond" panose="02020404030301010803" pitchFamily="18" charset="0"/>
            <a:cs typeface="Arial" charset="0"/>
          </a:endParaRPr>
        </a:p>
      </dsp:txBody>
      <dsp:txXfrm>
        <a:off x="407015" y="1369523"/>
        <a:ext cx="4883970" cy="94071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DE3AC5-6B2E-4C82-8C78-923BE2380D6F}">
      <dsp:nvSpPr>
        <dsp:cNvPr id="0" name=""/>
        <dsp:cNvSpPr/>
      </dsp:nvSpPr>
      <dsp:spPr>
        <a:xfrm>
          <a:off x="131799" y="165"/>
          <a:ext cx="2916747" cy="175004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>
              <a:latin typeface="Garamond" panose="02020404030301010803" pitchFamily="18" charset="0"/>
              <a:cs typeface="Arial" charset="0"/>
            </a:rPr>
            <a:t>Consultation des infractions routières enregistrées par les radars</a:t>
          </a:r>
        </a:p>
      </dsp:txBody>
      <dsp:txXfrm>
        <a:off x="131799" y="165"/>
        <a:ext cx="2916747" cy="1750048"/>
      </dsp:txXfrm>
    </dsp:sp>
    <dsp:sp modelId="{FCBDFB78-ED6B-4819-9CDE-EFB2F5DE0C83}">
      <dsp:nvSpPr>
        <dsp:cNvPr id="0" name=""/>
        <dsp:cNvSpPr/>
      </dsp:nvSpPr>
      <dsp:spPr>
        <a:xfrm>
          <a:off x="3340221" y="165"/>
          <a:ext cx="2916747" cy="1750048"/>
        </a:xfrm>
        <a:prstGeom prst="rect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kern="1200" dirty="0">
              <a:latin typeface="Garamond" panose="02020404030301010803" pitchFamily="18" charset="0"/>
              <a:cs typeface="Arial" charset="0"/>
            </a:rPr>
            <a:t>Consultation du solde de points</a:t>
          </a:r>
        </a:p>
      </dsp:txBody>
      <dsp:txXfrm>
        <a:off x="3340221" y="165"/>
        <a:ext cx="2916747" cy="1750048"/>
      </dsp:txXfrm>
    </dsp:sp>
    <dsp:sp modelId="{EF4A259B-66EA-4C43-8B28-D7F49DDFE773}">
      <dsp:nvSpPr>
        <dsp:cNvPr id="0" name=""/>
        <dsp:cNvSpPr/>
      </dsp:nvSpPr>
      <dsp:spPr>
        <a:xfrm>
          <a:off x="131799" y="2041888"/>
          <a:ext cx="2916747" cy="1750048"/>
        </a:xfrm>
        <a:prstGeom prst="rect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i="0" kern="1200" dirty="0">
              <a:latin typeface="Garamond" panose="02020404030301010803" pitchFamily="18" charset="0"/>
            </a:rPr>
            <a:t>Consultation de l’état de l’infraction</a:t>
          </a:r>
          <a:endParaRPr lang="fr-FR" sz="1800" b="1" kern="1200" dirty="0">
            <a:latin typeface="Garamond" panose="02020404030301010803" pitchFamily="18" charset="0"/>
          </a:endParaRPr>
        </a:p>
      </dsp:txBody>
      <dsp:txXfrm>
        <a:off x="131799" y="2041888"/>
        <a:ext cx="2916747" cy="1750048"/>
      </dsp:txXfrm>
    </dsp:sp>
    <dsp:sp modelId="{AB7BE6A0-5440-4991-ACDD-E4871AFDBCF1}">
      <dsp:nvSpPr>
        <dsp:cNvPr id="0" name=""/>
        <dsp:cNvSpPr/>
      </dsp:nvSpPr>
      <dsp:spPr>
        <a:xfrm>
          <a:off x="3340221" y="2041888"/>
          <a:ext cx="2916747" cy="1750048"/>
        </a:xfrm>
        <a:prstGeom prst="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i="0" kern="1200" dirty="0">
              <a:latin typeface="Garamond" panose="02020404030301010803" pitchFamily="18" charset="0"/>
            </a:rPr>
            <a:t>Paiement électronique des amendes relatives aux infractions enregistrées par les radars de contrôle automatisé</a:t>
          </a:r>
          <a:endParaRPr lang="fr-FR" sz="1800" b="1" kern="1200" dirty="0">
            <a:latin typeface="Garamond" panose="02020404030301010803" pitchFamily="18" charset="0"/>
          </a:endParaRPr>
        </a:p>
      </dsp:txBody>
      <dsp:txXfrm>
        <a:off x="3340221" y="2041888"/>
        <a:ext cx="2916747" cy="175004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2D96877-822F-4AFD-AA01-AFF7FC14DA78}">
      <dsp:nvSpPr>
        <dsp:cNvPr id="0" name=""/>
        <dsp:cNvSpPr/>
      </dsp:nvSpPr>
      <dsp:spPr>
        <a:xfrm>
          <a:off x="400532" y="649165"/>
          <a:ext cx="7209581" cy="6554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b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i="0" kern="1200" dirty="0">
              <a:latin typeface="Garamond" panose="02020404030301010803" pitchFamily="18" charset="0"/>
            </a:rPr>
            <a:t>Déclarer le conducteur ou la personne ayant la responsabilité civile aussitôt qu’il récupère le véhicule</a:t>
          </a:r>
          <a:endParaRPr lang="fr-FR" sz="1800" b="1" kern="1200" dirty="0">
            <a:latin typeface="Garamond" panose="02020404030301010803" pitchFamily="18" charset="0"/>
            <a:cs typeface="Arial" charset="0"/>
          </a:endParaRPr>
        </a:p>
      </dsp:txBody>
      <dsp:txXfrm>
        <a:off x="400532" y="649165"/>
        <a:ext cx="7209581" cy="655416"/>
      </dsp:txXfrm>
    </dsp:sp>
    <dsp:sp modelId="{DAD7C4B7-5A16-4361-8646-FEADDE7A732B}">
      <dsp:nvSpPr>
        <dsp:cNvPr id="0" name=""/>
        <dsp:cNvSpPr/>
      </dsp:nvSpPr>
      <dsp:spPr>
        <a:xfrm>
          <a:off x="400532" y="130458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A3F9752-CFD9-43E7-9DDF-BF1BF0BC08F9}">
      <dsp:nvSpPr>
        <dsp:cNvPr id="0" name=""/>
        <dsp:cNvSpPr/>
      </dsp:nvSpPr>
      <dsp:spPr>
        <a:xfrm>
          <a:off x="1417884" y="130458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367667"/>
            <a:satOff val="-511"/>
            <a:lumOff val="-196"/>
            <a:alphaOff val="0"/>
          </a:schemeClr>
        </a:solidFill>
        <a:ln w="12700" cap="flat" cmpd="sng" algn="ctr">
          <a:solidFill>
            <a:schemeClr val="accent5">
              <a:hueOff val="-367667"/>
              <a:satOff val="-511"/>
              <a:lumOff val="-19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FC8D015-A746-47CE-B95F-ED240213E0F9}">
      <dsp:nvSpPr>
        <dsp:cNvPr id="0" name=""/>
        <dsp:cNvSpPr/>
      </dsp:nvSpPr>
      <dsp:spPr>
        <a:xfrm>
          <a:off x="2435236" y="130458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735334"/>
            <a:satOff val="-1023"/>
            <a:lumOff val="-392"/>
            <a:alphaOff val="0"/>
          </a:schemeClr>
        </a:solidFill>
        <a:ln w="12700" cap="flat" cmpd="sng" algn="ctr">
          <a:solidFill>
            <a:schemeClr val="accent5">
              <a:hueOff val="-735334"/>
              <a:satOff val="-1023"/>
              <a:lumOff val="-39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C7A7B49-4BA9-4007-9ADE-CFDCF2558C0D}">
      <dsp:nvSpPr>
        <dsp:cNvPr id="0" name=""/>
        <dsp:cNvSpPr/>
      </dsp:nvSpPr>
      <dsp:spPr>
        <a:xfrm>
          <a:off x="3452588" y="130458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1103002"/>
            <a:satOff val="-1534"/>
            <a:lumOff val="-588"/>
            <a:alphaOff val="0"/>
          </a:schemeClr>
        </a:solidFill>
        <a:ln w="12700" cap="flat" cmpd="sng" algn="ctr">
          <a:solidFill>
            <a:schemeClr val="accent5">
              <a:hueOff val="-1103002"/>
              <a:satOff val="-1534"/>
              <a:lumOff val="-58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84ECC2-086B-41C4-AB3C-34EF910BC99D}">
      <dsp:nvSpPr>
        <dsp:cNvPr id="0" name=""/>
        <dsp:cNvSpPr/>
      </dsp:nvSpPr>
      <dsp:spPr>
        <a:xfrm>
          <a:off x="4469940" y="130458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1470669"/>
            <a:satOff val="-2046"/>
            <a:lumOff val="-784"/>
            <a:alphaOff val="0"/>
          </a:schemeClr>
        </a:solidFill>
        <a:ln w="12700" cap="flat" cmpd="sng" algn="ctr">
          <a:solidFill>
            <a:schemeClr val="accent5">
              <a:hueOff val="-1470669"/>
              <a:satOff val="-2046"/>
              <a:lumOff val="-78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821E5D-B0BD-4B15-8533-8E5FDC949D52}">
      <dsp:nvSpPr>
        <dsp:cNvPr id="0" name=""/>
        <dsp:cNvSpPr/>
      </dsp:nvSpPr>
      <dsp:spPr>
        <a:xfrm>
          <a:off x="5487292" y="130458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1838336"/>
            <a:satOff val="-2557"/>
            <a:lumOff val="-981"/>
            <a:alphaOff val="0"/>
          </a:schemeClr>
        </a:solidFill>
        <a:ln w="12700" cap="flat" cmpd="sng" algn="ctr">
          <a:solidFill>
            <a:schemeClr val="accent5">
              <a:hueOff val="-1838336"/>
              <a:satOff val="-2557"/>
              <a:lumOff val="-98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A120682-69D4-4C59-A559-AAA5EF54D014}">
      <dsp:nvSpPr>
        <dsp:cNvPr id="0" name=""/>
        <dsp:cNvSpPr/>
      </dsp:nvSpPr>
      <dsp:spPr>
        <a:xfrm>
          <a:off x="6504644" y="130458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2206003"/>
            <a:satOff val="-3068"/>
            <a:lumOff val="-1177"/>
            <a:alphaOff val="0"/>
          </a:schemeClr>
        </a:solidFill>
        <a:ln w="12700" cap="flat" cmpd="sng" algn="ctr">
          <a:solidFill>
            <a:schemeClr val="accent5">
              <a:hueOff val="-2206003"/>
              <a:satOff val="-3068"/>
              <a:lumOff val="-117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896D950-782A-492A-9BC1-ADF583BDC4C3}">
      <dsp:nvSpPr>
        <dsp:cNvPr id="0" name=""/>
        <dsp:cNvSpPr/>
      </dsp:nvSpPr>
      <dsp:spPr>
        <a:xfrm>
          <a:off x="400532" y="1542819"/>
          <a:ext cx="7209581" cy="6554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b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i="0" kern="1200" dirty="0">
              <a:latin typeface="Garamond" panose="02020404030301010803" pitchFamily="18" charset="0"/>
            </a:rPr>
            <a:t>Réduire le nombre des déclarations à formuler par les personnes morales</a:t>
          </a:r>
          <a:endParaRPr lang="fr-FR" sz="1800" b="1" kern="1200" dirty="0">
            <a:latin typeface="Garamond" panose="02020404030301010803" pitchFamily="18" charset="0"/>
            <a:cs typeface="Arial" charset="0"/>
          </a:endParaRPr>
        </a:p>
      </dsp:txBody>
      <dsp:txXfrm>
        <a:off x="400532" y="1542819"/>
        <a:ext cx="7209581" cy="655416"/>
      </dsp:txXfrm>
    </dsp:sp>
    <dsp:sp modelId="{C21FE8CB-6938-49F5-B60E-988EC4BCBD9F}">
      <dsp:nvSpPr>
        <dsp:cNvPr id="0" name=""/>
        <dsp:cNvSpPr/>
      </dsp:nvSpPr>
      <dsp:spPr>
        <a:xfrm>
          <a:off x="400532" y="2198236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2573671"/>
            <a:satOff val="-3580"/>
            <a:lumOff val="-1373"/>
            <a:alphaOff val="0"/>
          </a:schemeClr>
        </a:solidFill>
        <a:ln w="12700" cap="flat" cmpd="sng" algn="ctr">
          <a:solidFill>
            <a:schemeClr val="accent5">
              <a:hueOff val="-2573671"/>
              <a:satOff val="-3580"/>
              <a:lumOff val="-137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00B82E-D8A0-450D-BDFB-1380A1E55747}">
      <dsp:nvSpPr>
        <dsp:cNvPr id="0" name=""/>
        <dsp:cNvSpPr/>
      </dsp:nvSpPr>
      <dsp:spPr>
        <a:xfrm>
          <a:off x="1417884" y="2198236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2941338"/>
            <a:satOff val="-4091"/>
            <a:lumOff val="-1569"/>
            <a:alphaOff val="0"/>
          </a:schemeClr>
        </a:solidFill>
        <a:ln w="12700" cap="flat" cmpd="sng" algn="ctr">
          <a:solidFill>
            <a:schemeClr val="accent5">
              <a:hueOff val="-2941338"/>
              <a:satOff val="-4091"/>
              <a:lumOff val="-156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B28652-8A60-4ECC-8F1C-3C609FDEF427}">
      <dsp:nvSpPr>
        <dsp:cNvPr id="0" name=""/>
        <dsp:cNvSpPr/>
      </dsp:nvSpPr>
      <dsp:spPr>
        <a:xfrm>
          <a:off x="2435236" y="2198236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3309005"/>
            <a:satOff val="-4603"/>
            <a:lumOff val="-1765"/>
            <a:alphaOff val="0"/>
          </a:schemeClr>
        </a:solidFill>
        <a:ln w="12700" cap="flat" cmpd="sng" algn="ctr">
          <a:solidFill>
            <a:schemeClr val="accent5">
              <a:hueOff val="-3309005"/>
              <a:satOff val="-4603"/>
              <a:lumOff val="-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0FCB941-7A74-44ED-AD1A-21FB0466909A}">
      <dsp:nvSpPr>
        <dsp:cNvPr id="0" name=""/>
        <dsp:cNvSpPr/>
      </dsp:nvSpPr>
      <dsp:spPr>
        <a:xfrm>
          <a:off x="3452588" y="2198236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12700" cap="flat" cmpd="sng" algn="ctr">
          <a:solidFill>
            <a:schemeClr val="accent5">
              <a:hueOff val="-3676672"/>
              <a:satOff val="-5114"/>
              <a:lumOff val="-196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5C0A09F-3836-4B7D-A0A6-356173CC6F7A}">
      <dsp:nvSpPr>
        <dsp:cNvPr id="0" name=""/>
        <dsp:cNvSpPr/>
      </dsp:nvSpPr>
      <dsp:spPr>
        <a:xfrm>
          <a:off x="4469940" y="2198236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4044339"/>
            <a:satOff val="-5625"/>
            <a:lumOff val="-2157"/>
            <a:alphaOff val="0"/>
          </a:schemeClr>
        </a:solidFill>
        <a:ln w="12700" cap="flat" cmpd="sng" algn="ctr">
          <a:solidFill>
            <a:schemeClr val="accent5">
              <a:hueOff val="-4044339"/>
              <a:satOff val="-5625"/>
              <a:lumOff val="-215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D3939F-A8A4-47FE-9132-841638FBBD3B}">
      <dsp:nvSpPr>
        <dsp:cNvPr id="0" name=""/>
        <dsp:cNvSpPr/>
      </dsp:nvSpPr>
      <dsp:spPr>
        <a:xfrm>
          <a:off x="5487292" y="2198236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4412007"/>
            <a:satOff val="-6137"/>
            <a:lumOff val="-2353"/>
            <a:alphaOff val="0"/>
          </a:schemeClr>
        </a:solidFill>
        <a:ln w="12700" cap="flat" cmpd="sng" algn="ctr">
          <a:solidFill>
            <a:schemeClr val="accent5">
              <a:hueOff val="-4412007"/>
              <a:satOff val="-6137"/>
              <a:lumOff val="-235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7B3AAE8-347A-4CF0-BB05-CB76048D2760}">
      <dsp:nvSpPr>
        <dsp:cNvPr id="0" name=""/>
        <dsp:cNvSpPr/>
      </dsp:nvSpPr>
      <dsp:spPr>
        <a:xfrm>
          <a:off x="6504644" y="2198236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4779674"/>
            <a:satOff val="-6648"/>
            <a:lumOff val="-2549"/>
            <a:alphaOff val="0"/>
          </a:schemeClr>
        </a:solidFill>
        <a:ln w="12700" cap="flat" cmpd="sng" algn="ctr">
          <a:solidFill>
            <a:schemeClr val="accent5">
              <a:hueOff val="-4779674"/>
              <a:satOff val="-6648"/>
              <a:lumOff val="-25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5C4ABEF-0CF6-4DE3-90A4-3AF55EB5A043}">
      <dsp:nvSpPr>
        <dsp:cNvPr id="0" name=""/>
        <dsp:cNvSpPr/>
      </dsp:nvSpPr>
      <dsp:spPr>
        <a:xfrm>
          <a:off x="400532" y="2436474"/>
          <a:ext cx="7209581" cy="65541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b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FR" sz="1800" b="1" i="0" kern="1200" dirty="0">
              <a:latin typeface="Garamond" panose="02020404030301010803" pitchFamily="18" charset="0"/>
            </a:rPr>
            <a:t>Éviter la procédure de renvoi du procès-verbal au tribunal en cas de dépassement des délais de dépôt du dossier de déclaration</a:t>
          </a:r>
          <a:endParaRPr lang="fr-FR" sz="1800" b="1" kern="1200" dirty="0">
            <a:latin typeface="Garamond" panose="02020404030301010803" pitchFamily="18" charset="0"/>
          </a:endParaRPr>
        </a:p>
      </dsp:txBody>
      <dsp:txXfrm>
        <a:off x="400532" y="2436474"/>
        <a:ext cx="7209581" cy="655416"/>
      </dsp:txXfrm>
    </dsp:sp>
    <dsp:sp modelId="{0157AE20-6009-4D4A-9682-09E75682273C}">
      <dsp:nvSpPr>
        <dsp:cNvPr id="0" name=""/>
        <dsp:cNvSpPr/>
      </dsp:nvSpPr>
      <dsp:spPr>
        <a:xfrm>
          <a:off x="400532" y="309189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5147341"/>
            <a:satOff val="-7160"/>
            <a:lumOff val="-2745"/>
            <a:alphaOff val="0"/>
          </a:schemeClr>
        </a:solidFill>
        <a:ln w="12700" cap="flat" cmpd="sng" algn="ctr">
          <a:solidFill>
            <a:schemeClr val="accent5">
              <a:hueOff val="-5147341"/>
              <a:satOff val="-7160"/>
              <a:lumOff val="-274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604993-EEC0-4676-9D85-F65235BCF374}">
      <dsp:nvSpPr>
        <dsp:cNvPr id="0" name=""/>
        <dsp:cNvSpPr/>
      </dsp:nvSpPr>
      <dsp:spPr>
        <a:xfrm>
          <a:off x="1417884" y="309189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5515009"/>
            <a:satOff val="-7671"/>
            <a:lumOff val="-2942"/>
            <a:alphaOff val="0"/>
          </a:schemeClr>
        </a:solidFill>
        <a:ln w="12700" cap="flat" cmpd="sng" algn="ctr">
          <a:solidFill>
            <a:schemeClr val="accent5">
              <a:hueOff val="-5515009"/>
              <a:satOff val="-7671"/>
              <a:lumOff val="-294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A9D9E22-91F4-4954-8E6E-3F761FD821A7}">
      <dsp:nvSpPr>
        <dsp:cNvPr id="0" name=""/>
        <dsp:cNvSpPr/>
      </dsp:nvSpPr>
      <dsp:spPr>
        <a:xfrm>
          <a:off x="2435236" y="309189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5882676"/>
            <a:satOff val="-8182"/>
            <a:lumOff val="-3138"/>
            <a:alphaOff val="0"/>
          </a:schemeClr>
        </a:solidFill>
        <a:ln w="12700" cap="flat" cmpd="sng" algn="ctr">
          <a:solidFill>
            <a:schemeClr val="accent5">
              <a:hueOff val="-5882676"/>
              <a:satOff val="-8182"/>
              <a:lumOff val="-313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215A6C4-3305-44AA-9A38-EB5A8184176D}">
      <dsp:nvSpPr>
        <dsp:cNvPr id="0" name=""/>
        <dsp:cNvSpPr/>
      </dsp:nvSpPr>
      <dsp:spPr>
        <a:xfrm>
          <a:off x="3452588" y="309189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6250343"/>
            <a:satOff val="-8694"/>
            <a:lumOff val="-3334"/>
            <a:alphaOff val="0"/>
          </a:schemeClr>
        </a:solidFill>
        <a:ln w="12700" cap="flat" cmpd="sng" algn="ctr">
          <a:solidFill>
            <a:schemeClr val="accent5">
              <a:hueOff val="-6250343"/>
              <a:satOff val="-8694"/>
              <a:lumOff val="-333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158E741-8175-4E71-8C37-69A0161C2909}">
      <dsp:nvSpPr>
        <dsp:cNvPr id="0" name=""/>
        <dsp:cNvSpPr/>
      </dsp:nvSpPr>
      <dsp:spPr>
        <a:xfrm>
          <a:off x="4469940" y="309189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6618010"/>
            <a:satOff val="-9205"/>
            <a:lumOff val="-3530"/>
            <a:alphaOff val="0"/>
          </a:schemeClr>
        </a:solidFill>
        <a:ln w="12700" cap="flat" cmpd="sng" algn="ctr">
          <a:solidFill>
            <a:schemeClr val="accent5">
              <a:hueOff val="-6618010"/>
              <a:satOff val="-9205"/>
              <a:lumOff val="-353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EC6404D-EFE3-4BE6-A5F1-FDE012734605}">
      <dsp:nvSpPr>
        <dsp:cNvPr id="0" name=""/>
        <dsp:cNvSpPr/>
      </dsp:nvSpPr>
      <dsp:spPr>
        <a:xfrm>
          <a:off x="5487292" y="309189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6985677"/>
            <a:satOff val="-9717"/>
            <a:lumOff val="-3726"/>
            <a:alphaOff val="0"/>
          </a:schemeClr>
        </a:solidFill>
        <a:ln w="12700" cap="flat" cmpd="sng" algn="ctr">
          <a:solidFill>
            <a:schemeClr val="accent5">
              <a:hueOff val="-6985677"/>
              <a:satOff val="-9717"/>
              <a:lumOff val="-372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EF85300-B2F2-46F9-A1C8-5AF3A4E77AAE}">
      <dsp:nvSpPr>
        <dsp:cNvPr id="0" name=""/>
        <dsp:cNvSpPr/>
      </dsp:nvSpPr>
      <dsp:spPr>
        <a:xfrm>
          <a:off x="6504644" y="3091891"/>
          <a:ext cx="961277" cy="160212"/>
        </a:xfrm>
        <a:prstGeom prst="parallelogram">
          <a:avLst>
            <a:gd name="adj" fmla="val 140840"/>
          </a:avLst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accent5">
              <a:hueOff val="-7353344"/>
              <a:satOff val="-10228"/>
              <a:lumOff val="-3922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StepDownProcess">
  <dgm:title val=""/>
  <dgm:desc val=""/>
  <dgm:catLst>
    <dgm:cat type="process" pri="16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60" srcId="0" destId="10" srcOrd="0" destOrd="0"/>
        <dgm:cxn modelId="12" srcId="10" destId="11" srcOrd="0" destOrd="0"/>
        <dgm:cxn modelId="70" srcId="0" destId="20" srcOrd="1" destOrd="0"/>
        <dgm:cxn modelId="22" srcId="20" destId="21" srcOrd="0" destOrd="0"/>
        <dgm:cxn modelId="8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grDir" val="tL"/>
          <dgm:param type="flowDir" val="row"/>
          <dgm:param type="off" val="off"/>
          <dgm:param type="bkpt" val="fixed"/>
          <dgm:param type="bkPtFixedVal" val="1"/>
        </dgm:alg>
      </dgm:if>
      <dgm:else name="Name2">
        <dgm:alg type="snake">
          <dgm:param type="grDir" val="tR"/>
          <dgm:param type="flowDir" val="row"/>
          <dgm:param type="off" val="off"/>
          <dgm:param type="bkpt" val="fixed"/>
          <dgm:param type="bkPtFixedVal" val="1"/>
        </dgm:alg>
      </dgm:else>
    </dgm:choose>
    <dgm:shape xmlns:r="http://schemas.openxmlformats.org/officeDocument/2006/relationships" r:blip="">
      <dgm:adjLst/>
    </dgm:shape>
    <dgm:choose name="Name3">
      <dgm:if name="Name4" func="var" arg="dir" op="equ" val="norm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if>
      <dgm:else name="Name5">
        <dgm:constrLst>
          <dgm:constr type="alignOff" forName="rootnode" val="0.48"/>
          <dgm:constr type="primFontSz" for="des" forName="ParentText" val="65"/>
          <dgm:constr type="primFontSz" for="des" forName="ChildText" refType="primFontSz" refFor="des" refForName="ParentText" op="lte"/>
          <dgm:constr type="w" for="ch" forName="composite" refType="w"/>
          <dgm:constr type="h" for="ch" forName="composite" refType="h"/>
          <dgm:constr type="sp" refType="h" refFor="ch" refForName="composite" op="equ" fact="-0.38"/>
        </dgm:constrLst>
      </dgm:else>
    </dgm:choose>
    <dgm:forEach name="nodesForEach" axis="ch" ptType="node">
      <dgm:layoutNode name="composite">
        <dgm:alg type="composite">
          <dgm:param type="ar" val="1.2439"/>
        </dgm:alg>
        <dgm:shape xmlns:r="http://schemas.openxmlformats.org/officeDocument/2006/relationships" r:blip="">
          <dgm:adjLst/>
        </dgm:shape>
        <dgm:choose name="Name6">
          <dgm:if name="Name7" func="var" arg="dir" op="equ" val="norm">
            <dgm:constrLst>
              <dgm:constr type="l" for="ch" forName="bentUpArrow1" refType="w" fact="0.0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refFor="ch" refForName="ParentText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refFor="ch" refForName="ParentText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if>
          <dgm:else name="Name8">
            <dgm:constrLst>
              <dgm:constr type="r" for="ch" forName="bentUpArrow1" refType="w" fact="0.97"/>
              <dgm:constr type="t" for="ch" forName="bentUpArrow1" refType="h" fact="0.524"/>
              <dgm:constr type="w" for="ch" forName="bentUpArrow1" refType="w" fact="0.3844"/>
              <dgm:constr type="h" for="ch" forName="bentUpArrow1" refType="h" fact="0.42"/>
              <dgm:constr type="l" for="ch" forName="ParentText" refType="w" fact="0.4316"/>
              <dgm:constr type="t" for="ch" forName="ParentText" refType="h" fact="0"/>
              <dgm:constr type="w" for="ch" forName="ParentText" refType="w" fact="0.5684"/>
              <dgm:constr type="h" for="ch" forName="ParentText" refType="h" fact="0.4949"/>
              <dgm:constr type="l" for="ch" forName="ChildText" refType="w" fact="0"/>
              <dgm:constr type="t" for="ch" forName="ChildText" refType="h" fact="0.05"/>
              <dgm:constr type="w" for="ch" forName="ChildText" refType="w" fact="0.4134"/>
              <dgm:constr type="h" for="ch" forName="ChildText" refType="h" fact="0.4"/>
              <dgm:constr type="l" for="ch" forName="FinalChildText" refType="w" fact="0"/>
              <dgm:constr type="t" for="ch" forName="FinalChildText" refType="h" fact="0.05"/>
              <dgm:constr type="w" for="ch" forName="FinalChildText" refType="w" fact="0.4134"/>
              <dgm:constr type="h" for="ch" forName="FinalChildText" refType="h" fact="0.4"/>
            </dgm:constrLst>
          </dgm:else>
        </dgm:choose>
        <dgm:choose name="Name9">
          <dgm:if name="Name10" axis="followSib" ptType="node" func="cnt" op="gte" val="1">
            <dgm:layoutNode name="bentUpArrow1" styleLbl="alignImgPlace1">
              <dgm:alg type="sp"/>
              <dgm:choose name="Name11">
                <dgm:if name="Name12" func="var" arg="dir" op="equ" val="norm">
                  <dgm:shape xmlns:r="http://schemas.openxmlformats.org/officeDocument/2006/relationships" rot="90" type="bentUpArrow" r:blip="">
                    <dgm:adjLst>
                      <dgm:adj idx="1" val="0.3284"/>
                      <dgm:adj idx="2" val="0.25"/>
                      <dgm:adj idx="3" val="0.3578"/>
                    </dgm:adjLst>
                  </dgm:shape>
                </dgm:if>
                <dgm:else name="Name13">
                  <dgm:shape xmlns:r="http://schemas.openxmlformats.org/officeDocument/2006/relationships" rot="180" type="bentArrow" r:blip="">
                    <dgm:adjLst>
                      <dgm:adj idx="1" val="0.3284"/>
                      <dgm:adj idx="2" val="0.25"/>
                      <dgm:adj idx="3" val="0.3578"/>
                      <dgm:adj idx="4" val="0"/>
                    </dgm:adjLst>
                  </dgm:shape>
                </dgm:else>
              </dgm:choose>
              <dgm:presOf/>
            </dgm:layoutNode>
          </dgm:if>
          <dgm:else name="Name14"/>
        </dgm:choose>
        <dgm:layoutNode name="ParentText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66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15">
          <dgm:if name="Name16" axis="followSib" ptType="node" func="cnt" op="equ" val="0">
            <dgm:choose name="Name17">
              <dgm:if name="Name18" axis="ch" ptType="node" func="cnt" op="gte" val="1">
                <dgm:layoutNode name="FinalChildText" styleLbl="revTx">
                  <dgm:varLst>
                    <dgm:chMax val="0"/>
                    <dgm:chPref val="0"/>
                    <dgm:bulletEnabled val="1"/>
                  </dgm:varLst>
                  <dgm:alg type="tx">
                    <dgm:param type="stBulletLvl" val="1"/>
                    <dgm:param type="txAnchorVertCh" val="mid"/>
                    <dgm:param type="parTxLTRAlign" val="l"/>
                  </dgm:alg>
                  <dgm:shape xmlns:r="http://schemas.openxmlformats.org/officeDocument/2006/relationships" type="rect" r:blip="">
                    <dgm:adjLst/>
                  </dgm:shape>
                  <dgm:presOf axis="des" ptType="node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9"/>
            </dgm:choose>
          </dgm:if>
          <dgm:else name="Name20">
            <dgm:layoutNode name="ChildText" styleLbl="revTx">
              <dgm:varLst>
                <dgm:chMax val="0"/>
                <dgm:chPref val="0"/>
                <dgm:bulletEnabled val="1"/>
              </dgm:varLst>
              <dgm:alg type="tx">
                <dgm:param type="stBulletLvl" val="1"/>
                <dgm:param type="txAnchorVertCh" val="mid"/>
                <dgm:param type="parTxLTRAlign" val="l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else>
        </dgm:choos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47CB01-1EA4-41F1-9430-4554C7407C72}" type="datetimeFigureOut">
              <a:rPr lang="en-US" smtClean="0"/>
              <a:t>9/25/2023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5A17DC3-5698-41FB-B777-7D5AFC85EACF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7533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Modifier le style des sous-titres du masque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5FF3E9-604F-42E2-A19B-96E531514E53}" type="datetime1">
              <a:rPr lang="en-US" smtClean="0"/>
              <a:t>9/25/2023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48614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0E0A9C-D4E6-4015-8B82-1F5AE58C09F9}" type="datetime1">
              <a:rPr lang="en-US" smtClean="0"/>
              <a:t>9/25/2023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8379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1D57D-6818-4576-8B1D-23F60A36D581}" type="datetime1">
              <a:rPr lang="en-US" smtClean="0"/>
              <a:t>9/25/2023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8267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23DE32A5-6181-4C51-AD5C-3F1A448478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530" y="339510"/>
            <a:ext cx="11573197" cy="724247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5400" b="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</p:spTree>
    <p:extLst>
      <p:ext uri="{BB962C8B-B14F-4D97-AF65-F5344CB8AC3E}">
        <p14:creationId xmlns:p14="http://schemas.microsoft.com/office/powerpoint/2010/main" val="33055783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368E79-217A-43BB-B155-66D3ABED3CFE}" type="datetime1">
              <a:rPr lang="en-US" smtClean="0"/>
              <a:t>9/25/2023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0968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A67C71-803A-4A29-8569-58431F97DC03}" type="datetime1">
              <a:rPr lang="en-US" smtClean="0"/>
              <a:t>9/25/2023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0235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78D3E0-ADC6-4616-8977-83BF87EA94C9}" type="datetime1">
              <a:rPr lang="en-US" smtClean="0"/>
              <a:t>9/25/2023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691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0E520-E8F3-4213-8ED8-E50662B1A10A}" type="datetime1">
              <a:rPr lang="en-US" smtClean="0"/>
              <a:t>9/25/2023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8530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6E323C-EB39-46B0-A5C5-037ADF287D0D}" type="datetime1">
              <a:rPr lang="en-US" smtClean="0"/>
              <a:t>9/25/2023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7085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2E95F6-0652-4EC5-A2A8-52DE4B534D3F}" type="datetime1">
              <a:rPr lang="en-US" smtClean="0"/>
              <a:t>9/25/2023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3170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C017D0-9E0B-4402-A3F8-228959B05438}" type="datetime1">
              <a:rPr lang="en-US" smtClean="0"/>
              <a:t>9/25/2023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5759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58C0D0-B892-493B-A6EF-BF2D71E2AA2F}" type="datetime1">
              <a:rPr lang="en-US" smtClean="0"/>
              <a:t>9/25/2023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49142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FB91CF-625E-4DCE-B7FE-3620745C909E}" type="datetime1">
              <a:rPr lang="en-US" smtClean="0"/>
              <a:t>9/25/2023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E36FDE-51A7-4B0B-BB85-E626DBF2878C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8740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21.png"/><Relationship Id="rId7" Type="http://schemas.openxmlformats.org/officeDocument/2006/relationships/diagramQuickStyle" Target="../diagrams/quickStyle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22.jpeg"/><Relationship Id="rId9" Type="http://schemas.microsoft.com/office/2007/relationships/diagramDrawing" Target="../diagrams/drawing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26.png"/><Relationship Id="rId4" Type="http://schemas.openxmlformats.org/officeDocument/2006/relationships/tags" Target="../tags/tag4.xml"/><Relationship Id="rId9" Type="http://schemas.openxmlformats.org/officeDocument/2006/relationships/image" Target="../media/image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4.png"/><Relationship Id="rId4" Type="http://schemas.openxmlformats.org/officeDocument/2006/relationships/tags" Target="../tags/tag11.xml"/><Relationship Id="rId9" Type="http://schemas.openxmlformats.org/officeDocument/2006/relationships/image" Target="../media/image2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4" Type="http://schemas.openxmlformats.org/officeDocument/2006/relationships/image" Target="../media/image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10" Type="http://schemas.openxmlformats.org/officeDocument/2006/relationships/image" Target="../media/image42.png"/><Relationship Id="rId4" Type="http://schemas.openxmlformats.org/officeDocument/2006/relationships/image" Target="../media/image36.png"/><Relationship Id="rId9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42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2.xml"/><Relationship Id="rId11" Type="http://schemas.openxmlformats.org/officeDocument/2006/relationships/image" Target="../media/image43.png"/><Relationship Id="rId5" Type="http://schemas.openxmlformats.org/officeDocument/2006/relationships/diagramLayout" Target="../diagrams/layout2.xml"/><Relationship Id="rId10" Type="http://schemas.openxmlformats.org/officeDocument/2006/relationships/image" Target="../media/image41.png"/><Relationship Id="rId4" Type="http://schemas.openxmlformats.org/officeDocument/2006/relationships/diagramData" Target="../diagrams/data2.xml"/><Relationship Id="rId9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5" Type="http://schemas.openxmlformats.org/officeDocument/2006/relationships/image" Target="../media/image3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43.pn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42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41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49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Layout" Target="../diagrams/layout7.xml"/><Relationship Id="rId7" Type="http://schemas.openxmlformats.org/officeDocument/2006/relationships/image" Target="../media/image50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jpeg"/><Relationship Id="rId5" Type="http://schemas.openxmlformats.org/officeDocument/2006/relationships/image" Target="../media/image54.png"/><Relationship Id="rId4" Type="http://schemas.openxmlformats.org/officeDocument/2006/relationships/image" Target="../media/image53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openxmlformats.org/officeDocument/2006/relationships/image" Target="../media/image16.png"/><Relationship Id="rId18" Type="http://schemas.openxmlformats.org/officeDocument/2006/relationships/image" Target="../media/image4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openxmlformats.org/officeDocument/2006/relationships/image" Target="../media/image15.png"/><Relationship Id="rId17" Type="http://schemas.openxmlformats.org/officeDocument/2006/relationships/image" Target="../media/image20.jpg"/><Relationship Id="rId2" Type="http://schemas.openxmlformats.org/officeDocument/2006/relationships/image" Target="../media/image5.png"/><Relationship Id="rId16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jpeg"/><Relationship Id="rId15" Type="http://schemas.openxmlformats.org/officeDocument/2006/relationships/image" Target="../media/image18.png"/><Relationship Id="rId10" Type="http://schemas.openxmlformats.org/officeDocument/2006/relationships/image" Target="../media/image13.pn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36512" y="4089597"/>
            <a:ext cx="12228511" cy="2768403"/>
          </a:xfrm>
          <a:prstGeom prst="rect">
            <a:avLst/>
          </a:prstGeom>
          <a:solidFill>
            <a:srgbClr val="FCD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" name="Rectangle 1"/>
          <p:cNvSpPr/>
          <p:nvPr/>
        </p:nvSpPr>
        <p:spPr>
          <a:xfrm>
            <a:off x="2101" y="-48362"/>
            <a:ext cx="12228512" cy="477314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2400" dirty="0"/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9D9FB4D9-F285-41D4-9F1F-689020B1CD93}"/>
              </a:ext>
            </a:extLst>
          </p:cNvPr>
          <p:cNvSpPr txBox="1"/>
          <p:nvPr/>
        </p:nvSpPr>
        <p:spPr>
          <a:xfrm>
            <a:off x="1315823" y="4247349"/>
            <a:ext cx="9601067" cy="30880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endParaRPr lang="en-US" sz="3200" b="1" dirty="0">
              <a:solidFill>
                <a:srgbClr val="4159A4"/>
              </a:solidFill>
              <a:latin typeface="+mj-lt"/>
            </a:endParaRPr>
          </a:p>
          <a:p>
            <a:pPr algn="ctr" defTabSz="685783"/>
            <a:r>
              <a:rPr lang="fr-FR" altLang="ko-KR" sz="3200" b="1" dirty="0" smtClean="0">
                <a:solidFill>
                  <a:srgbClr val="4159A4"/>
                </a:solidFill>
              </a:rPr>
              <a:t>Expérience de la </a:t>
            </a:r>
            <a:r>
              <a:rPr lang="fr-FR" altLang="ko-KR" sz="3200" b="1" dirty="0" err="1" smtClean="0">
                <a:solidFill>
                  <a:srgbClr val="4159A4"/>
                </a:solidFill>
              </a:rPr>
              <a:t>Narsa</a:t>
            </a:r>
            <a:endParaRPr lang="fr-FR" altLang="ko-KR" sz="3200" b="1" dirty="0">
              <a:solidFill>
                <a:srgbClr val="4159A4"/>
              </a:solidFill>
            </a:endParaRPr>
          </a:p>
          <a:p>
            <a:pPr algn="ctr" defTabSz="685783"/>
            <a:endParaRPr lang="fr-FR" altLang="ko-KR" sz="3200" b="1" dirty="0" smtClean="0">
              <a:solidFill>
                <a:srgbClr val="4159A4"/>
              </a:solidFill>
            </a:endParaRPr>
          </a:p>
          <a:p>
            <a:pPr algn="ctr" defTabSz="685783"/>
            <a:endParaRPr lang="fr-FR" altLang="ko-KR" sz="3200" b="1" dirty="0">
              <a:solidFill>
                <a:srgbClr val="4159A4"/>
              </a:solidFill>
            </a:endParaRPr>
          </a:p>
          <a:p>
            <a:pPr algn="ctr" defTabSz="685783"/>
            <a:r>
              <a:rPr lang="fr-FR" altLang="ko-KR" sz="24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25 SEPTEMBRE 2023</a:t>
            </a:r>
            <a:endParaRPr lang="fr-FR" altLang="ko-KR" sz="24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algn="ctr"/>
            <a:endParaRPr lang="en-US" sz="4267" b="1" dirty="0">
              <a:solidFill>
                <a:srgbClr val="4159A4"/>
              </a:solidFill>
              <a:latin typeface="+mj-lt"/>
            </a:endParaRPr>
          </a:p>
        </p:txBody>
      </p:sp>
      <p:sp>
        <p:nvSpPr>
          <p:cNvPr id="212" name="Google Shape;466;p25"/>
          <p:cNvSpPr/>
          <p:nvPr/>
        </p:nvSpPr>
        <p:spPr>
          <a:xfrm>
            <a:off x="1531225" y="2932449"/>
            <a:ext cx="18855" cy="19529"/>
          </a:xfrm>
          <a:custGeom>
            <a:avLst/>
            <a:gdLst/>
            <a:ahLst/>
            <a:cxnLst/>
            <a:rect l="l" t="t" r="r" b="b"/>
            <a:pathLst>
              <a:path w="1036" h="1073" extrusionOk="0">
                <a:moveTo>
                  <a:pt x="518" y="1"/>
                </a:moveTo>
                <a:cubicBezTo>
                  <a:pt x="223" y="1"/>
                  <a:pt x="1" y="260"/>
                  <a:pt x="1" y="555"/>
                </a:cubicBezTo>
                <a:cubicBezTo>
                  <a:pt x="1" y="814"/>
                  <a:pt x="223" y="1073"/>
                  <a:pt x="518" y="1073"/>
                </a:cubicBezTo>
                <a:cubicBezTo>
                  <a:pt x="814" y="1073"/>
                  <a:pt x="1036" y="814"/>
                  <a:pt x="1036" y="555"/>
                </a:cubicBezTo>
                <a:cubicBezTo>
                  <a:pt x="1036" y="260"/>
                  <a:pt x="814" y="1"/>
                  <a:pt x="518" y="1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/>
            <a:endParaRPr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3" name="Google Shape;467;p25"/>
          <p:cNvSpPr/>
          <p:nvPr/>
        </p:nvSpPr>
        <p:spPr>
          <a:xfrm>
            <a:off x="-36512" y="2923713"/>
            <a:ext cx="18855" cy="19529"/>
          </a:xfrm>
          <a:custGeom>
            <a:avLst/>
            <a:gdLst/>
            <a:ahLst/>
            <a:cxnLst/>
            <a:rect l="l" t="t" r="r" b="b"/>
            <a:pathLst>
              <a:path w="1036" h="1073" extrusionOk="0">
                <a:moveTo>
                  <a:pt x="518" y="0"/>
                </a:moveTo>
                <a:cubicBezTo>
                  <a:pt x="222" y="0"/>
                  <a:pt x="1" y="259"/>
                  <a:pt x="1" y="518"/>
                </a:cubicBezTo>
                <a:cubicBezTo>
                  <a:pt x="1" y="813"/>
                  <a:pt x="222" y="1035"/>
                  <a:pt x="518" y="1072"/>
                </a:cubicBezTo>
                <a:cubicBezTo>
                  <a:pt x="814" y="1072"/>
                  <a:pt x="1036" y="813"/>
                  <a:pt x="1036" y="555"/>
                </a:cubicBezTo>
                <a:cubicBezTo>
                  <a:pt x="1036" y="259"/>
                  <a:pt x="814" y="0"/>
                  <a:pt x="518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 defTabSz="914377"/>
            <a:endParaRPr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33" name="Picture 5" descr="Accueil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800523" y="6345384"/>
            <a:ext cx="1327869" cy="540000"/>
          </a:xfrm>
          <a:prstGeom prst="rect">
            <a:avLst/>
          </a:prstGeom>
          <a:noFill/>
        </p:spPr>
      </p:pic>
      <p:pic>
        <p:nvPicPr>
          <p:cNvPr id="24" name="Picture 2" descr="Armoiries du Maroc — Wikipédia">
            <a:extLst>
              <a:ext uri="{FF2B5EF4-FFF2-40B4-BE49-F238E27FC236}">
                <a16:creationId xmlns:a16="http://schemas.microsoft.com/office/drawing/2014/main" id="{36EAB9DE-0017-4A0C-B6E9-BB8CF45E42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3074" y="-36596"/>
            <a:ext cx="876399" cy="946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itre 1">
            <a:extLst>
              <a:ext uri="{FF2B5EF4-FFF2-40B4-BE49-F238E27FC236}">
                <a16:creationId xmlns:a16="http://schemas.microsoft.com/office/drawing/2014/main" id="{B8E3A400-E8FF-4643-BEC6-347E818786AE}"/>
              </a:ext>
            </a:extLst>
          </p:cNvPr>
          <p:cNvSpPr txBox="1">
            <a:spLocks/>
          </p:cNvSpPr>
          <p:nvPr/>
        </p:nvSpPr>
        <p:spPr>
          <a:xfrm>
            <a:off x="-60546" y="784126"/>
            <a:ext cx="12353807" cy="739173"/>
          </a:xfrm>
          <a:prstGeom prst="rect">
            <a:avLst/>
          </a:prstGeom>
        </p:spPr>
        <p:txBody>
          <a:bodyPr vert="horz" lIns="121920" tIns="60960" rIns="121920" bIns="6096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Royaume du Maroc</a:t>
            </a:r>
          </a:p>
          <a:p>
            <a:pPr algn="ctr"/>
            <a:r>
              <a:rPr lang="fr-FR" sz="2000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rPr>
              <a:t>Agence nationale de la sécurité routière</a:t>
            </a:r>
          </a:p>
        </p:txBody>
      </p:sp>
      <p:sp>
        <p:nvSpPr>
          <p:cNvPr id="27" name="TextBox 210">
            <a:extLst>
              <a:ext uri="{FF2B5EF4-FFF2-40B4-BE49-F238E27FC236}">
                <a16:creationId xmlns:a16="http://schemas.microsoft.com/office/drawing/2014/main" id="{9D9FB4D9-F285-41D4-9F1F-689020B1CD93}"/>
              </a:ext>
            </a:extLst>
          </p:cNvPr>
          <p:cNvSpPr txBox="1"/>
          <p:nvPr/>
        </p:nvSpPr>
        <p:spPr>
          <a:xfrm>
            <a:off x="1531225" y="1365391"/>
            <a:ext cx="9601067" cy="28007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endParaRPr lang="en-US" sz="3200" b="1" dirty="0">
              <a:solidFill>
                <a:srgbClr val="4159A4"/>
              </a:solidFill>
              <a:latin typeface="+mj-lt"/>
            </a:endParaRPr>
          </a:p>
          <a:p>
            <a:pPr algn="ctr" defTabSz="685783"/>
            <a:r>
              <a:rPr lang="fr-FR" sz="4000" b="1" dirty="0" smtClean="0">
                <a:solidFill>
                  <a:schemeClr val="bg1"/>
                </a:solidFill>
              </a:rPr>
              <a:t>Kofi Annan prix de la </a:t>
            </a:r>
            <a:r>
              <a:rPr lang="fr-FR" sz="4000" b="1" dirty="0">
                <a:solidFill>
                  <a:schemeClr val="bg1"/>
                </a:solidFill>
              </a:rPr>
              <a:t>Sécurité </a:t>
            </a:r>
            <a:r>
              <a:rPr lang="fr-FR" sz="4000" b="1" dirty="0" smtClean="0">
                <a:solidFill>
                  <a:schemeClr val="bg1"/>
                </a:solidFill>
              </a:rPr>
              <a:t>Routière</a:t>
            </a:r>
            <a:endParaRPr lang="fr-FR" altLang="ko-KR" sz="4000" b="1" dirty="0" smtClean="0">
              <a:solidFill>
                <a:schemeClr val="bg1"/>
              </a:solidFill>
            </a:endParaRPr>
          </a:p>
          <a:p>
            <a:pPr algn="ctr" defTabSz="685783"/>
            <a:endParaRPr lang="fr-FR" altLang="ko-KR" sz="4000" b="1" dirty="0" smtClean="0">
              <a:solidFill>
                <a:schemeClr val="bg1"/>
              </a:solidFill>
            </a:endParaRPr>
          </a:p>
          <a:p>
            <a:pPr algn="ctr" defTabSz="685783"/>
            <a:r>
              <a:rPr lang="fr-FR" sz="3200" b="1" dirty="0" smtClean="0">
                <a:solidFill>
                  <a:schemeClr val="bg1"/>
                </a:solidFill>
              </a:rPr>
              <a:t>Expériences </a:t>
            </a:r>
            <a:r>
              <a:rPr lang="fr-FR" sz="3200" b="1" dirty="0">
                <a:solidFill>
                  <a:schemeClr val="bg1"/>
                </a:solidFill>
              </a:rPr>
              <a:t>à travers l'Afrique dans l'utilisation </a:t>
            </a:r>
            <a:endParaRPr lang="fr-FR" sz="3200" b="1" dirty="0" smtClean="0">
              <a:solidFill>
                <a:schemeClr val="bg1"/>
              </a:solidFill>
            </a:endParaRPr>
          </a:p>
          <a:p>
            <a:pPr algn="ctr" defTabSz="685783"/>
            <a:r>
              <a:rPr lang="fr-FR" sz="3200" b="1" dirty="0" smtClean="0">
                <a:solidFill>
                  <a:schemeClr val="bg1"/>
                </a:solidFill>
              </a:rPr>
              <a:t>de </a:t>
            </a:r>
            <a:r>
              <a:rPr lang="fr-FR" sz="3200" b="1" dirty="0">
                <a:solidFill>
                  <a:schemeClr val="bg1"/>
                </a:solidFill>
              </a:rPr>
              <a:t>la digitalisation pour la sécurité </a:t>
            </a:r>
            <a:r>
              <a:rPr lang="fr-FR" sz="3200" b="1" dirty="0" smtClean="0">
                <a:solidFill>
                  <a:schemeClr val="bg1"/>
                </a:solidFill>
              </a:rPr>
              <a:t>routière</a:t>
            </a:r>
            <a:endParaRPr lang="fr-FR" altLang="ko-KR" sz="3200" b="1" dirty="0">
              <a:solidFill>
                <a:schemeClr val="bg1"/>
              </a:solidFill>
            </a:endParaRPr>
          </a:p>
        </p:txBody>
      </p:sp>
      <p:pic>
        <p:nvPicPr>
          <p:cNvPr id="3" name="Audio 2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11569700" y="62357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73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Tm="6463">
        <p14:prism isContent="1" isInverted="1"/>
      </p:transition>
    </mc:Choice>
    <mc:Fallback xmlns="">
      <p:transition spd="slow" advTm="6463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0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0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pic>
        <p:nvPicPr>
          <p:cNvPr id="38" name="Picture 2" descr="NARSA, Al Barid Bank Barid Cash | Agence Nationale de la Sécurité Routièr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732" y="1743567"/>
            <a:ext cx="2994674" cy="2994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0" descr="Al Barid Bank Candidature Spontanée - Dreamjob.ma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6732" y="5066661"/>
            <a:ext cx="2994674" cy="1441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0" name="Diagramme 39"/>
          <p:cNvGraphicFramePr/>
          <p:nvPr>
            <p:extLst>
              <p:ext uri="{D42A27DB-BD31-4B8C-83A1-F6EECF244321}">
                <p14:modId xmlns:p14="http://schemas.microsoft.com/office/powerpoint/2010/main" val="3063195212"/>
              </p:ext>
            </p:extLst>
          </p:nvPr>
        </p:nvGraphicFramePr>
        <p:xfrm>
          <a:off x="690761" y="1166738"/>
          <a:ext cx="7130876" cy="25888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41" name="Rectangle 40"/>
          <p:cNvSpPr/>
          <p:nvPr/>
        </p:nvSpPr>
        <p:spPr>
          <a:xfrm>
            <a:off x="690761" y="3511989"/>
            <a:ext cx="7130876" cy="227754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indent="-28575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q"/>
            </a:pPr>
            <a:r>
              <a:rPr lang="fr-FR" sz="1700" b="1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érations externalisées</a:t>
            </a:r>
            <a:r>
              <a:rPr lang="fr-FR" sz="1700" b="1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endParaRPr lang="fr-FR" sz="1700" b="1" dirty="0" smtClean="0">
              <a:solidFill>
                <a:schemeClr val="dk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fr-FR" sz="17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change </a:t>
            </a:r>
            <a:r>
              <a:rPr lang="fr-FR" sz="1700" dirty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t duplicata du </a:t>
            </a:r>
            <a:r>
              <a:rPr lang="fr-FR" sz="1700" dirty="0" smtClean="0">
                <a:solidFill>
                  <a:schemeClr val="dk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C </a:t>
            </a:r>
            <a:endParaRPr lang="fr-FR" sz="1700" dirty="0">
              <a:solidFill>
                <a:schemeClr val="dk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fr-FR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Echange </a:t>
            </a:r>
            <a:r>
              <a:rPr lang="fr-FR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t duplicata de Certificats </a:t>
            </a:r>
            <a:r>
              <a:rPr lang="fr-FR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’immatriculation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fr-FR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épôt </a:t>
            </a:r>
            <a:r>
              <a:rPr lang="fr-FR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 dossiers </a:t>
            </a:r>
            <a:r>
              <a:rPr lang="fr-FR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e mutation</a:t>
            </a:r>
          </a:p>
          <a:p>
            <a:pPr marL="742950" lvl="1" indent="-28575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fr-FR" sz="17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Dépôt </a:t>
            </a:r>
            <a:r>
              <a:rPr lang="fr-FR" sz="17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e dossiers relatifs aux réclamations et déclarations relatives aux infractions constatées par radars fixes.</a:t>
            </a:r>
            <a:endParaRPr lang="fr-FR" sz="1700" dirty="0">
              <a:solidFill>
                <a:schemeClr val="dk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0" y="257742"/>
            <a:ext cx="8488680" cy="775496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fr-FR" altLang="fr-FR" sz="2000" b="1" dirty="0" smtClean="0">
                <a:latin typeface="Garamond" panose="02020404030301010803" pitchFamily="18" charset="0"/>
              </a:rPr>
              <a:t>PROJETS PROGRAMMÉS DANS L’IMMÉDIAT COMME PRÉALABLE À LA TRANSFORMATION DIGITALE</a:t>
            </a:r>
            <a:endParaRPr lang="fr-FR" altLang="fr-FR" sz="2800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9665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350875"/>
            <a:ext cx="8488680" cy="775496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fr-FR" altLang="fr-FR" sz="2000" b="1" dirty="0" smtClean="0">
                <a:latin typeface="Garamond" panose="02020404030301010803" pitchFamily="18" charset="0"/>
              </a:rPr>
              <a:t>PROJETS PROGRAMMÉS DANS L’IMMÉDIAT COMME PRÉALABLE À LA TRANSFORMATION DIGITALE</a:t>
            </a:r>
            <a:endParaRPr lang="fr-FR" altLang="fr-FR" sz="2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11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1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19" name="Flèche courbée vers le haut 1"/>
          <p:cNvSpPr/>
          <p:nvPr/>
        </p:nvSpPr>
        <p:spPr bwMode="auto">
          <a:xfrm>
            <a:off x="4396258" y="2011932"/>
            <a:ext cx="3537543" cy="4539279"/>
          </a:xfrm>
          <a:custGeom>
            <a:avLst/>
            <a:gdLst>
              <a:gd name="connsiteX0" fmla="*/ 2790310 w 3384376"/>
              <a:gd name="connsiteY0" fmla="*/ 0 h 2376264"/>
              <a:gd name="connsiteX1" fmla="*/ 3344790 w 3384376"/>
              <a:gd name="connsiteY1" fmla="*/ 594066 h 2376264"/>
              <a:gd name="connsiteX2" fmla="*/ 3047757 w 3384376"/>
              <a:gd name="connsiteY2" fmla="*/ 594066 h 2376264"/>
              <a:gd name="connsiteX3" fmla="*/ 1543671 w 3384376"/>
              <a:gd name="connsiteY3" fmla="*/ 2307827 h 2376264"/>
              <a:gd name="connsiteX4" fmla="*/ 2453691 w 3384376"/>
              <a:gd name="connsiteY4" fmla="*/ 594066 h 2376264"/>
              <a:gd name="connsiteX5" fmla="*/ 2156658 w 3384376"/>
              <a:gd name="connsiteY5" fmla="*/ 594066 h 2376264"/>
              <a:gd name="connsiteX6" fmla="*/ 2790310 w 3384376"/>
              <a:gd name="connsiteY6" fmla="*/ 0 h 2376264"/>
              <a:gd name="connsiteX0" fmla="*/ 1246639 w 3384376"/>
              <a:gd name="connsiteY0" fmla="*/ 2376264 h 2376264"/>
              <a:gd name="connsiteX1" fmla="*/ 0 w 3384376"/>
              <a:gd name="connsiteY1" fmla="*/ 0 h 2376264"/>
              <a:gd name="connsiteX2" fmla="*/ 594066 w 3384376"/>
              <a:gd name="connsiteY2" fmla="*/ 0 h 2376264"/>
              <a:gd name="connsiteX3" fmla="*/ 1840705 w 3384376"/>
              <a:gd name="connsiteY3" fmla="*/ 2376264 h 2376264"/>
              <a:gd name="connsiteX4" fmla="*/ 1246639 w 3384376"/>
              <a:gd name="connsiteY4" fmla="*/ 2376264 h 2376264"/>
              <a:gd name="connsiteX0" fmla="*/ 1543672 w 3384376"/>
              <a:gd name="connsiteY0" fmla="*/ 2307827 h 2376264"/>
              <a:gd name="connsiteX1" fmla="*/ 2453692 w 3384376"/>
              <a:gd name="connsiteY1" fmla="*/ 594066 h 2376264"/>
              <a:gd name="connsiteX2" fmla="*/ 2156658 w 3384376"/>
              <a:gd name="connsiteY2" fmla="*/ 594066 h 2376264"/>
              <a:gd name="connsiteX3" fmla="*/ 2790310 w 3384376"/>
              <a:gd name="connsiteY3" fmla="*/ 0 h 2376264"/>
              <a:gd name="connsiteX4" fmla="*/ 3344790 w 3384376"/>
              <a:gd name="connsiteY4" fmla="*/ 594066 h 2376264"/>
              <a:gd name="connsiteX5" fmla="*/ 3047757 w 3384376"/>
              <a:gd name="connsiteY5" fmla="*/ 594066 h 2376264"/>
              <a:gd name="connsiteX6" fmla="*/ 1840704 w 3384376"/>
              <a:gd name="connsiteY6" fmla="*/ 2376264 h 2376264"/>
              <a:gd name="connsiteX7" fmla="*/ 1246639 w 3384376"/>
              <a:gd name="connsiteY7" fmla="*/ 2376264 h 2376264"/>
              <a:gd name="connsiteX8" fmla="*/ 0 w 3384376"/>
              <a:gd name="connsiteY8" fmla="*/ 0 h 2376264"/>
              <a:gd name="connsiteX9" fmla="*/ 594066 w 3384376"/>
              <a:gd name="connsiteY9" fmla="*/ 0 h 2376264"/>
              <a:gd name="connsiteX10" fmla="*/ 1840705 w 3384376"/>
              <a:gd name="connsiteY10" fmla="*/ 2376264 h 2376264"/>
              <a:gd name="connsiteX0" fmla="*/ 2790310 w 3344790"/>
              <a:gd name="connsiteY0" fmla="*/ 0 h 2376796"/>
              <a:gd name="connsiteX1" fmla="*/ 3344790 w 3344790"/>
              <a:gd name="connsiteY1" fmla="*/ 594066 h 2376796"/>
              <a:gd name="connsiteX2" fmla="*/ 3047757 w 3344790"/>
              <a:gd name="connsiteY2" fmla="*/ 594066 h 2376796"/>
              <a:gd name="connsiteX3" fmla="*/ 1543671 w 3344790"/>
              <a:gd name="connsiteY3" fmla="*/ 2307827 h 2376796"/>
              <a:gd name="connsiteX4" fmla="*/ 2453691 w 3344790"/>
              <a:gd name="connsiteY4" fmla="*/ 594066 h 2376796"/>
              <a:gd name="connsiteX5" fmla="*/ 2156658 w 3344790"/>
              <a:gd name="connsiteY5" fmla="*/ 594066 h 2376796"/>
              <a:gd name="connsiteX6" fmla="*/ 2790310 w 3344790"/>
              <a:gd name="connsiteY6" fmla="*/ 0 h 2376796"/>
              <a:gd name="connsiteX0" fmla="*/ 1246639 w 3344790"/>
              <a:gd name="connsiteY0" fmla="*/ 2376264 h 2376796"/>
              <a:gd name="connsiteX1" fmla="*/ 0 w 3344790"/>
              <a:gd name="connsiteY1" fmla="*/ 0 h 2376796"/>
              <a:gd name="connsiteX2" fmla="*/ 594066 w 3344790"/>
              <a:gd name="connsiteY2" fmla="*/ 0 h 2376796"/>
              <a:gd name="connsiteX3" fmla="*/ 1840705 w 3344790"/>
              <a:gd name="connsiteY3" fmla="*/ 2376264 h 2376796"/>
              <a:gd name="connsiteX4" fmla="*/ 1246639 w 3344790"/>
              <a:gd name="connsiteY4" fmla="*/ 2376264 h 2376796"/>
              <a:gd name="connsiteX0" fmla="*/ 1543672 w 3344790"/>
              <a:gd name="connsiteY0" fmla="*/ 2307827 h 2376796"/>
              <a:gd name="connsiteX1" fmla="*/ 2453692 w 3344790"/>
              <a:gd name="connsiteY1" fmla="*/ 594066 h 2376796"/>
              <a:gd name="connsiteX2" fmla="*/ 2156658 w 3344790"/>
              <a:gd name="connsiteY2" fmla="*/ 594066 h 2376796"/>
              <a:gd name="connsiteX3" fmla="*/ 2790310 w 3344790"/>
              <a:gd name="connsiteY3" fmla="*/ 0 h 2376796"/>
              <a:gd name="connsiteX4" fmla="*/ 3344790 w 3344790"/>
              <a:gd name="connsiteY4" fmla="*/ 594066 h 2376796"/>
              <a:gd name="connsiteX5" fmla="*/ 3047757 w 3344790"/>
              <a:gd name="connsiteY5" fmla="*/ 594066 h 2376796"/>
              <a:gd name="connsiteX6" fmla="*/ 1840704 w 3344790"/>
              <a:gd name="connsiteY6" fmla="*/ 2376264 h 2376796"/>
              <a:gd name="connsiteX7" fmla="*/ 1246639 w 3344790"/>
              <a:gd name="connsiteY7" fmla="*/ 2376264 h 2376796"/>
              <a:gd name="connsiteX8" fmla="*/ 33556 w 3344790"/>
              <a:gd name="connsiteY8" fmla="*/ 629174 h 2376796"/>
              <a:gd name="connsiteX9" fmla="*/ 594066 w 3344790"/>
              <a:gd name="connsiteY9" fmla="*/ 0 h 2376796"/>
              <a:gd name="connsiteX10" fmla="*/ 1840705 w 3344790"/>
              <a:gd name="connsiteY10" fmla="*/ 2376264 h 2376796"/>
              <a:gd name="connsiteX0" fmla="*/ 2790310 w 3344790"/>
              <a:gd name="connsiteY0" fmla="*/ 0 h 2376796"/>
              <a:gd name="connsiteX1" fmla="*/ 3344790 w 3344790"/>
              <a:gd name="connsiteY1" fmla="*/ 594066 h 2376796"/>
              <a:gd name="connsiteX2" fmla="*/ 3047757 w 3344790"/>
              <a:gd name="connsiteY2" fmla="*/ 594066 h 2376796"/>
              <a:gd name="connsiteX3" fmla="*/ 1543671 w 3344790"/>
              <a:gd name="connsiteY3" fmla="*/ 2307827 h 2376796"/>
              <a:gd name="connsiteX4" fmla="*/ 2453691 w 3344790"/>
              <a:gd name="connsiteY4" fmla="*/ 594066 h 2376796"/>
              <a:gd name="connsiteX5" fmla="*/ 2156658 w 3344790"/>
              <a:gd name="connsiteY5" fmla="*/ 594066 h 2376796"/>
              <a:gd name="connsiteX6" fmla="*/ 2790310 w 3344790"/>
              <a:gd name="connsiteY6" fmla="*/ 0 h 2376796"/>
              <a:gd name="connsiteX0" fmla="*/ 1246639 w 3344790"/>
              <a:gd name="connsiteY0" fmla="*/ 2376264 h 2376796"/>
              <a:gd name="connsiteX1" fmla="*/ 0 w 3344790"/>
              <a:gd name="connsiteY1" fmla="*/ 0 h 2376796"/>
              <a:gd name="connsiteX2" fmla="*/ 594066 w 3344790"/>
              <a:gd name="connsiteY2" fmla="*/ 0 h 2376796"/>
              <a:gd name="connsiteX3" fmla="*/ 1840705 w 3344790"/>
              <a:gd name="connsiteY3" fmla="*/ 2376264 h 2376796"/>
              <a:gd name="connsiteX4" fmla="*/ 1246639 w 3344790"/>
              <a:gd name="connsiteY4" fmla="*/ 2376264 h 2376796"/>
              <a:gd name="connsiteX0" fmla="*/ 1543672 w 3344790"/>
              <a:gd name="connsiteY0" fmla="*/ 2307827 h 2376796"/>
              <a:gd name="connsiteX1" fmla="*/ 2453692 w 3344790"/>
              <a:gd name="connsiteY1" fmla="*/ 594066 h 2376796"/>
              <a:gd name="connsiteX2" fmla="*/ 2156658 w 3344790"/>
              <a:gd name="connsiteY2" fmla="*/ 594066 h 2376796"/>
              <a:gd name="connsiteX3" fmla="*/ 2790310 w 3344790"/>
              <a:gd name="connsiteY3" fmla="*/ 0 h 2376796"/>
              <a:gd name="connsiteX4" fmla="*/ 3344790 w 3344790"/>
              <a:gd name="connsiteY4" fmla="*/ 594066 h 2376796"/>
              <a:gd name="connsiteX5" fmla="*/ 3047757 w 3344790"/>
              <a:gd name="connsiteY5" fmla="*/ 594066 h 2376796"/>
              <a:gd name="connsiteX6" fmla="*/ 1840704 w 3344790"/>
              <a:gd name="connsiteY6" fmla="*/ 2376264 h 2376796"/>
              <a:gd name="connsiteX7" fmla="*/ 1246639 w 3344790"/>
              <a:gd name="connsiteY7" fmla="*/ 2376264 h 2376796"/>
              <a:gd name="connsiteX8" fmla="*/ 33556 w 3344790"/>
              <a:gd name="connsiteY8" fmla="*/ 629174 h 2376796"/>
              <a:gd name="connsiteX9" fmla="*/ 627622 w 3344790"/>
              <a:gd name="connsiteY9" fmla="*/ 629174 h 2376796"/>
              <a:gd name="connsiteX10" fmla="*/ 1840705 w 3344790"/>
              <a:gd name="connsiteY10" fmla="*/ 2376264 h 2376796"/>
              <a:gd name="connsiteX0" fmla="*/ 2790310 w 3344790"/>
              <a:gd name="connsiteY0" fmla="*/ 8389 h 2385185"/>
              <a:gd name="connsiteX1" fmla="*/ 3344790 w 3344790"/>
              <a:gd name="connsiteY1" fmla="*/ 602455 h 2385185"/>
              <a:gd name="connsiteX2" fmla="*/ 3047757 w 3344790"/>
              <a:gd name="connsiteY2" fmla="*/ 602455 h 2385185"/>
              <a:gd name="connsiteX3" fmla="*/ 1543671 w 3344790"/>
              <a:gd name="connsiteY3" fmla="*/ 2316216 h 2385185"/>
              <a:gd name="connsiteX4" fmla="*/ 2453691 w 3344790"/>
              <a:gd name="connsiteY4" fmla="*/ 602455 h 2385185"/>
              <a:gd name="connsiteX5" fmla="*/ 2156658 w 3344790"/>
              <a:gd name="connsiteY5" fmla="*/ 602455 h 2385185"/>
              <a:gd name="connsiteX6" fmla="*/ 2790310 w 3344790"/>
              <a:gd name="connsiteY6" fmla="*/ 8389 h 2385185"/>
              <a:gd name="connsiteX0" fmla="*/ 1246639 w 3344790"/>
              <a:gd name="connsiteY0" fmla="*/ 2384653 h 2385185"/>
              <a:gd name="connsiteX1" fmla="*/ 0 w 3344790"/>
              <a:gd name="connsiteY1" fmla="*/ 8389 h 2385185"/>
              <a:gd name="connsiteX2" fmla="*/ 594066 w 3344790"/>
              <a:gd name="connsiteY2" fmla="*/ 8389 h 2385185"/>
              <a:gd name="connsiteX3" fmla="*/ 1840705 w 3344790"/>
              <a:gd name="connsiteY3" fmla="*/ 2384653 h 2385185"/>
              <a:gd name="connsiteX4" fmla="*/ 1246639 w 3344790"/>
              <a:gd name="connsiteY4" fmla="*/ 2384653 h 2385185"/>
              <a:gd name="connsiteX0" fmla="*/ 1543672 w 3344790"/>
              <a:gd name="connsiteY0" fmla="*/ 2316216 h 2385185"/>
              <a:gd name="connsiteX1" fmla="*/ 2453692 w 3344790"/>
              <a:gd name="connsiteY1" fmla="*/ 602455 h 2385185"/>
              <a:gd name="connsiteX2" fmla="*/ 2156658 w 3344790"/>
              <a:gd name="connsiteY2" fmla="*/ 602455 h 2385185"/>
              <a:gd name="connsiteX3" fmla="*/ 2798699 w 3344790"/>
              <a:gd name="connsiteY3" fmla="*/ 0 h 2385185"/>
              <a:gd name="connsiteX4" fmla="*/ 3344790 w 3344790"/>
              <a:gd name="connsiteY4" fmla="*/ 602455 h 2385185"/>
              <a:gd name="connsiteX5" fmla="*/ 3047757 w 3344790"/>
              <a:gd name="connsiteY5" fmla="*/ 602455 h 2385185"/>
              <a:gd name="connsiteX6" fmla="*/ 1840704 w 3344790"/>
              <a:gd name="connsiteY6" fmla="*/ 2384653 h 2385185"/>
              <a:gd name="connsiteX7" fmla="*/ 1246639 w 3344790"/>
              <a:gd name="connsiteY7" fmla="*/ 2384653 h 2385185"/>
              <a:gd name="connsiteX8" fmla="*/ 33556 w 3344790"/>
              <a:gd name="connsiteY8" fmla="*/ 637563 h 2385185"/>
              <a:gd name="connsiteX9" fmla="*/ 627622 w 3344790"/>
              <a:gd name="connsiteY9" fmla="*/ 637563 h 2385185"/>
              <a:gd name="connsiteX10" fmla="*/ 1840705 w 3344790"/>
              <a:gd name="connsiteY10" fmla="*/ 2384653 h 2385185"/>
              <a:gd name="connsiteX0" fmla="*/ 2790310 w 3344790"/>
              <a:gd name="connsiteY0" fmla="*/ 8389 h 2385185"/>
              <a:gd name="connsiteX1" fmla="*/ 3344790 w 3344790"/>
              <a:gd name="connsiteY1" fmla="*/ 602455 h 2385185"/>
              <a:gd name="connsiteX2" fmla="*/ 3047757 w 3344790"/>
              <a:gd name="connsiteY2" fmla="*/ 602455 h 2385185"/>
              <a:gd name="connsiteX3" fmla="*/ 1543671 w 3344790"/>
              <a:gd name="connsiteY3" fmla="*/ 2316216 h 2385185"/>
              <a:gd name="connsiteX4" fmla="*/ 2453691 w 3344790"/>
              <a:gd name="connsiteY4" fmla="*/ 602455 h 2385185"/>
              <a:gd name="connsiteX5" fmla="*/ 2156658 w 3344790"/>
              <a:gd name="connsiteY5" fmla="*/ 602455 h 2385185"/>
              <a:gd name="connsiteX6" fmla="*/ 2790310 w 3344790"/>
              <a:gd name="connsiteY6" fmla="*/ 8389 h 2385185"/>
              <a:gd name="connsiteX0" fmla="*/ 1246639 w 3344790"/>
              <a:gd name="connsiteY0" fmla="*/ 2384653 h 2385185"/>
              <a:gd name="connsiteX1" fmla="*/ 0 w 3344790"/>
              <a:gd name="connsiteY1" fmla="*/ 8389 h 2385185"/>
              <a:gd name="connsiteX2" fmla="*/ 594066 w 3344790"/>
              <a:gd name="connsiteY2" fmla="*/ 8389 h 2385185"/>
              <a:gd name="connsiteX3" fmla="*/ 1840705 w 3344790"/>
              <a:gd name="connsiteY3" fmla="*/ 2384653 h 2385185"/>
              <a:gd name="connsiteX4" fmla="*/ 1246639 w 3344790"/>
              <a:gd name="connsiteY4" fmla="*/ 2384653 h 2385185"/>
              <a:gd name="connsiteX0" fmla="*/ 1543672 w 3344790"/>
              <a:gd name="connsiteY0" fmla="*/ 2316216 h 2385185"/>
              <a:gd name="connsiteX1" fmla="*/ 2453692 w 3344790"/>
              <a:gd name="connsiteY1" fmla="*/ 602455 h 2385185"/>
              <a:gd name="connsiteX2" fmla="*/ 2156658 w 3344790"/>
              <a:gd name="connsiteY2" fmla="*/ 602455 h 2385185"/>
              <a:gd name="connsiteX3" fmla="*/ 2798699 w 3344790"/>
              <a:gd name="connsiteY3" fmla="*/ 0 h 2385185"/>
              <a:gd name="connsiteX4" fmla="*/ 3344790 w 3344790"/>
              <a:gd name="connsiteY4" fmla="*/ 602455 h 2385185"/>
              <a:gd name="connsiteX5" fmla="*/ 3047757 w 3344790"/>
              <a:gd name="connsiteY5" fmla="*/ 602455 h 2385185"/>
              <a:gd name="connsiteX6" fmla="*/ 1840704 w 3344790"/>
              <a:gd name="connsiteY6" fmla="*/ 2384653 h 2385185"/>
              <a:gd name="connsiteX7" fmla="*/ 1246639 w 3344790"/>
              <a:gd name="connsiteY7" fmla="*/ 2384653 h 2385185"/>
              <a:gd name="connsiteX8" fmla="*/ 33556 w 3344790"/>
              <a:gd name="connsiteY8" fmla="*/ 637563 h 2385185"/>
              <a:gd name="connsiteX9" fmla="*/ 613452 w 3344790"/>
              <a:gd name="connsiteY9" fmla="*/ 1001830 h 2385185"/>
              <a:gd name="connsiteX10" fmla="*/ 1840705 w 3344790"/>
              <a:gd name="connsiteY10" fmla="*/ 2384653 h 2385185"/>
              <a:gd name="connsiteX0" fmla="*/ 2790310 w 3344790"/>
              <a:gd name="connsiteY0" fmla="*/ 8389 h 2385185"/>
              <a:gd name="connsiteX1" fmla="*/ 3344790 w 3344790"/>
              <a:gd name="connsiteY1" fmla="*/ 602455 h 2385185"/>
              <a:gd name="connsiteX2" fmla="*/ 3047757 w 3344790"/>
              <a:gd name="connsiteY2" fmla="*/ 602455 h 2385185"/>
              <a:gd name="connsiteX3" fmla="*/ 1543671 w 3344790"/>
              <a:gd name="connsiteY3" fmla="*/ 2316216 h 2385185"/>
              <a:gd name="connsiteX4" fmla="*/ 2453691 w 3344790"/>
              <a:gd name="connsiteY4" fmla="*/ 602455 h 2385185"/>
              <a:gd name="connsiteX5" fmla="*/ 2156658 w 3344790"/>
              <a:gd name="connsiteY5" fmla="*/ 602455 h 2385185"/>
              <a:gd name="connsiteX6" fmla="*/ 2790310 w 3344790"/>
              <a:gd name="connsiteY6" fmla="*/ 8389 h 2385185"/>
              <a:gd name="connsiteX0" fmla="*/ 1246639 w 3344790"/>
              <a:gd name="connsiteY0" fmla="*/ 2384653 h 2385185"/>
              <a:gd name="connsiteX1" fmla="*/ 0 w 3344790"/>
              <a:gd name="connsiteY1" fmla="*/ 8389 h 2385185"/>
              <a:gd name="connsiteX2" fmla="*/ 594066 w 3344790"/>
              <a:gd name="connsiteY2" fmla="*/ 8389 h 2385185"/>
              <a:gd name="connsiteX3" fmla="*/ 1840705 w 3344790"/>
              <a:gd name="connsiteY3" fmla="*/ 2384653 h 2385185"/>
              <a:gd name="connsiteX4" fmla="*/ 1246639 w 3344790"/>
              <a:gd name="connsiteY4" fmla="*/ 2384653 h 2385185"/>
              <a:gd name="connsiteX0" fmla="*/ 1543672 w 3344790"/>
              <a:gd name="connsiteY0" fmla="*/ 2316216 h 2385185"/>
              <a:gd name="connsiteX1" fmla="*/ 2453692 w 3344790"/>
              <a:gd name="connsiteY1" fmla="*/ 602455 h 2385185"/>
              <a:gd name="connsiteX2" fmla="*/ 2156658 w 3344790"/>
              <a:gd name="connsiteY2" fmla="*/ 602455 h 2385185"/>
              <a:gd name="connsiteX3" fmla="*/ 2798699 w 3344790"/>
              <a:gd name="connsiteY3" fmla="*/ 0 h 2385185"/>
              <a:gd name="connsiteX4" fmla="*/ 3344790 w 3344790"/>
              <a:gd name="connsiteY4" fmla="*/ 602455 h 2385185"/>
              <a:gd name="connsiteX5" fmla="*/ 3047757 w 3344790"/>
              <a:gd name="connsiteY5" fmla="*/ 602455 h 2385185"/>
              <a:gd name="connsiteX6" fmla="*/ 1840704 w 3344790"/>
              <a:gd name="connsiteY6" fmla="*/ 2384653 h 2385185"/>
              <a:gd name="connsiteX7" fmla="*/ 1246639 w 3344790"/>
              <a:gd name="connsiteY7" fmla="*/ 2384653 h 2385185"/>
              <a:gd name="connsiteX8" fmla="*/ 111490 w 3344790"/>
              <a:gd name="connsiteY8" fmla="*/ 1008004 h 2385185"/>
              <a:gd name="connsiteX9" fmla="*/ 613452 w 3344790"/>
              <a:gd name="connsiteY9" fmla="*/ 1001830 h 2385185"/>
              <a:gd name="connsiteX10" fmla="*/ 1840705 w 3344790"/>
              <a:gd name="connsiteY10" fmla="*/ 2384653 h 2385185"/>
              <a:gd name="connsiteX0" fmla="*/ 2790310 w 3344790"/>
              <a:gd name="connsiteY0" fmla="*/ 8389 h 2385185"/>
              <a:gd name="connsiteX1" fmla="*/ 3344790 w 3344790"/>
              <a:gd name="connsiteY1" fmla="*/ 602455 h 2385185"/>
              <a:gd name="connsiteX2" fmla="*/ 3047757 w 3344790"/>
              <a:gd name="connsiteY2" fmla="*/ 602455 h 2385185"/>
              <a:gd name="connsiteX3" fmla="*/ 1543671 w 3344790"/>
              <a:gd name="connsiteY3" fmla="*/ 2316216 h 2385185"/>
              <a:gd name="connsiteX4" fmla="*/ 2453691 w 3344790"/>
              <a:gd name="connsiteY4" fmla="*/ 602455 h 2385185"/>
              <a:gd name="connsiteX5" fmla="*/ 2156658 w 3344790"/>
              <a:gd name="connsiteY5" fmla="*/ 602455 h 2385185"/>
              <a:gd name="connsiteX6" fmla="*/ 2790310 w 3344790"/>
              <a:gd name="connsiteY6" fmla="*/ 8389 h 2385185"/>
              <a:gd name="connsiteX0" fmla="*/ 1246639 w 3344790"/>
              <a:gd name="connsiteY0" fmla="*/ 2384653 h 2385185"/>
              <a:gd name="connsiteX1" fmla="*/ 0 w 3344790"/>
              <a:gd name="connsiteY1" fmla="*/ 8389 h 2385185"/>
              <a:gd name="connsiteX2" fmla="*/ 594066 w 3344790"/>
              <a:gd name="connsiteY2" fmla="*/ 8389 h 2385185"/>
              <a:gd name="connsiteX3" fmla="*/ 1840705 w 3344790"/>
              <a:gd name="connsiteY3" fmla="*/ 2384653 h 2385185"/>
              <a:gd name="connsiteX4" fmla="*/ 1246639 w 3344790"/>
              <a:gd name="connsiteY4" fmla="*/ 2384653 h 2385185"/>
              <a:gd name="connsiteX0" fmla="*/ 1543672 w 3344790"/>
              <a:gd name="connsiteY0" fmla="*/ 2316216 h 2385185"/>
              <a:gd name="connsiteX1" fmla="*/ 2453692 w 3344790"/>
              <a:gd name="connsiteY1" fmla="*/ 602455 h 2385185"/>
              <a:gd name="connsiteX2" fmla="*/ 2156658 w 3344790"/>
              <a:gd name="connsiteY2" fmla="*/ 602455 h 2385185"/>
              <a:gd name="connsiteX3" fmla="*/ 2798699 w 3344790"/>
              <a:gd name="connsiteY3" fmla="*/ 0 h 2385185"/>
              <a:gd name="connsiteX4" fmla="*/ 3344790 w 3344790"/>
              <a:gd name="connsiteY4" fmla="*/ 602455 h 2385185"/>
              <a:gd name="connsiteX5" fmla="*/ 3047757 w 3344790"/>
              <a:gd name="connsiteY5" fmla="*/ 602455 h 2385185"/>
              <a:gd name="connsiteX6" fmla="*/ 1840704 w 3344790"/>
              <a:gd name="connsiteY6" fmla="*/ 2384653 h 2385185"/>
              <a:gd name="connsiteX7" fmla="*/ 1246639 w 3344790"/>
              <a:gd name="connsiteY7" fmla="*/ 2384653 h 2385185"/>
              <a:gd name="connsiteX8" fmla="*/ 111490 w 3344790"/>
              <a:gd name="connsiteY8" fmla="*/ 1008004 h 2385185"/>
              <a:gd name="connsiteX9" fmla="*/ 663046 w 3344790"/>
              <a:gd name="connsiteY9" fmla="*/ 1008004 h 2385185"/>
              <a:gd name="connsiteX10" fmla="*/ 1840705 w 3344790"/>
              <a:gd name="connsiteY10" fmla="*/ 2384653 h 2385185"/>
              <a:gd name="connsiteX0" fmla="*/ 2790310 w 3344790"/>
              <a:gd name="connsiteY0" fmla="*/ 8389 h 2385185"/>
              <a:gd name="connsiteX1" fmla="*/ 3344790 w 3344790"/>
              <a:gd name="connsiteY1" fmla="*/ 602455 h 2385185"/>
              <a:gd name="connsiteX2" fmla="*/ 3047757 w 3344790"/>
              <a:gd name="connsiteY2" fmla="*/ 602455 h 2385185"/>
              <a:gd name="connsiteX3" fmla="*/ 1543671 w 3344790"/>
              <a:gd name="connsiteY3" fmla="*/ 2316216 h 2385185"/>
              <a:gd name="connsiteX4" fmla="*/ 2453691 w 3344790"/>
              <a:gd name="connsiteY4" fmla="*/ 602455 h 2385185"/>
              <a:gd name="connsiteX5" fmla="*/ 2156658 w 3344790"/>
              <a:gd name="connsiteY5" fmla="*/ 602455 h 2385185"/>
              <a:gd name="connsiteX6" fmla="*/ 2790310 w 3344790"/>
              <a:gd name="connsiteY6" fmla="*/ 8389 h 2385185"/>
              <a:gd name="connsiteX0" fmla="*/ 1246639 w 3344790"/>
              <a:gd name="connsiteY0" fmla="*/ 2384653 h 2385185"/>
              <a:gd name="connsiteX1" fmla="*/ 0 w 3344790"/>
              <a:gd name="connsiteY1" fmla="*/ 8389 h 2385185"/>
              <a:gd name="connsiteX2" fmla="*/ 594066 w 3344790"/>
              <a:gd name="connsiteY2" fmla="*/ 8389 h 2385185"/>
              <a:gd name="connsiteX3" fmla="*/ 1840705 w 3344790"/>
              <a:gd name="connsiteY3" fmla="*/ 2384653 h 2385185"/>
              <a:gd name="connsiteX4" fmla="*/ 1246639 w 3344790"/>
              <a:gd name="connsiteY4" fmla="*/ 2384653 h 2385185"/>
              <a:gd name="connsiteX0" fmla="*/ 1543672 w 3344790"/>
              <a:gd name="connsiteY0" fmla="*/ 2316216 h 2385185"/>
              <a:gd name="connsiteX1" fmla="*/ 2453692 w 3344790"/>
              <a:gd name="connsiteY1" fmla="*/ 602455 h 2385185"/>
              <a:gd name="connsiteX2" fmla="*/ 2156658 w 3344790"/>
              <a:gd name="connsiteY2" fmla="*/ 602455 h 2385185"/>
              <a:gd name="connsiteX3" fmla="*/ 2798699 w 3344790"/>
              <a:gd name="connsiteY3" fmla="*/ 0 h 2385185"/>
              <a:gd name="connsiteX4" fmla="*/ 3344790 w 3344790"/>
              <a:gd name="connsiteY4" fmla="*/ 602455 h 2385185"/>
              <a:gd name="connsiteX5" fmla="*/ 3047757 w 3344790"/>
              <a:gd name="connsiteY5" fmla="*/ 602455 h 2385185"/>
              <a:gd name="connsiteX6" fmla="*/ 1840704 w 3344790"/>
              <a:gd name="connsiteY6" fmla="*/ 2384653 h 2385185"/>
              <a:gd name="connsiteX7" fmla="*/ 1246639 w 3344790"/>
              <a:gd name="connsiteY7" fmla="*/ 2384653 h 2385185"/>
              <a:gd name="connsiteX8" fmla="*/ 111490 w 3344790"/>
              <a:gd name="connsiteY8" fmla="*/ 1008004 h 2385185"/>
              <a:gd name="connsiteX9" fmla="*/ 599282 w 3344790"/>
              <a:gd name="connsiteY9" fmla="*/ 1014178 h 2385185"/>
              <a:gd name="connsiteX10" fmla="*/ 1840705 w 3344790"/>
              <a:gd name="connsiteY10" fmla="*/ 2384653 h 2385185"/>
              <a:gd name="connsiteX0" fmla="*/ 2790310 w 3344790"/>
              <a:gd name="connsiteY0" fmla="*/ 8389 h 2385185"/>
              <a:gd name="connsiteX1" fmla="*/ 3344790 w 3344790"/>
              <a:gd name="connsiteY1" fmla="*/ 602455 h 2385185"/>
              <a:gd name="connsiteX2" fmla="*/ 3047757 w 3344790"/>
              <a:gd name="connsiteY2" fmla="*/ 602455 h 2385185"/>
              <a:gd name="connsiteX3" fmla="*/ 1543671 w 3344790"/>
              <a:gd name="connsiteY3" fmla="*/ 2316216 h 2385185"/>
              <a:gd name="connsiteX4" fmla="*/ 2453691 w 3344790"/>
              <a:gd name="connsiteY4" fmla="*/ 602455 h 2385185"/>
              <a:gd name="connsiteX5" fmla="*/ 2156658 w 3344790"/>
              <a:gd name="connsiteY5" fmla="*/ 602455 h 2385185"/>
              <a:gd name="connsiteX6" fmla="*/ 2790310 w 3344790"/>
              <a:gd name="connsiteY6" fmla="*/ 8389 h 2385185"/>
              <a:gd name="connsiteX0" fmla="*/ 1246639 w 3344790"/>
              <a:gd name="connsiteY0" fmla="*/ 2384653 h 2385185"/>
              <a:gd name="connsiteX1" fmla="*/ 0 w 3344790"/>
              <a:gd name="connsiteY1" fmla="*/ 8389 h 2385185"/>
              <a:gd name="connsiteX2" fmla="*/ 594066 w 3344790"/>
              <a:gd name="connsiteY2" fmla="*/ 8389 h 2385185"/>
              <a:gd name="connsiteX3" fmla="*/ 1840705 w 3344790"/>
              <a:gd name="connsiteY3" fmla="*/ 2384653 h 2385185"/>
              <a:gd name="connsiteX4" fmla="*/ 1246639 w 3344790"/>
              <a:gd name="connsiteY4" fmla="*/ 2384653 h 2385185"/>
              <a:gd name="connsiteX0" fmla="*/ 1543672 w 3344790"/>
              <a:gd name="connsiteY0" fmla="*/ 2316216 h 2385185"/>
              <a:gd name="connsiteX1" fmla="*/ 2453692 w 3344790"/>
              <a:gd name="connsiteY1" fmla="*/ 602455 h 2385185"/>
              <a:gd name="connsiteX2" fmla="*/ 2156658 w 3344790"/>
              <a:gd name="connsiteY2" fmla="*/ 602455 h 2385185"/>
              <a:gd name="connsiteX3" fmla="*/ 2779216 w 3344790"/>
              <a:gd name="connsiteY3" fmla="*/ 0 h 2385185"/>
              <a:gd name="connsiteX4" fmla="*/ 3344790 w 3344790"/>
              <a:gd name="connsiteY4" fmla="*/ 602455 h 2385185"/>
              <a:gd name="connsiteX5" fmla="*/ 3047757 w 3344790"/>
              <a:gd name="connsiteY5" fmla="*/ 602455 h 2385185"/>
              <a:gd name="connsiteX6" fmla="*/ 1840704 w 3344790"/>
              <a:gd name="connsiteY6" fmla="*/ 2384653 h 2385185"/>
              <a:gd name="connsiteX7" fmla="*/ 1246639 w 3344790"/>
              <a:gd name="connsiteY7" fmla="*/ 2384653 h 2385185"/>
              <a:gd name="connsiteX8" fmla="*/ 111490 w 3344790"/>
              <a:gd name="connsiteY8" fmla="*/ 1008004 h 2385185"/>
              <a:gd name="connsiteX9" fmla="*/ 599282 w 3344790"/>
              <a:gd name="connsiteY9" fmla="*/ 1014178 h 2385185"/>
              <a:gd name="connsiteX10" fmla="*/ 1840705 w 3344790"/>
              <a:gd name="connsiteY10" fmla="*/ 2384653 h 2385185"/>
              <a:gd name="connsiteX0" fmla="*/ 2790310 w 3344790"/>
              <a:gd name="connsiteY0" fmla="*/ 8389 h 2385185"/>
              <a:gd name="connsiteX1" fmla="*/ 3344790 w 3344790"/>
              <a:gd name="connsiteY1" fmla="*/ 602455 h 2385185"/>
              <a:gd name="connsiteX2" fmla="*/ 3047757 w 3344790"/>
              <a:gd name="connsiteY2" fmla="*/ 602455 h 2385185"/>
              <a:gd name="connsiteX3" fmla="*/ 1543671 w 3344790"/>
              <a:gd name="connsiteY3" fmla="*/ 2316216 h 2385185"/>
              <a:gd name="connsiteX4" fmla="*/ 2453691 w 3344790"/>
              <a:gd name="connsiteY4" fmla="*/ 602455 h 2385185"/>
              <a:gd name="connsiteX5" fmla="*/ 2156658 w 3344790"/>
              <a:gd name="connsiteY5" fmla="*/ 602455 h 2385185"/>
              <a:gd name="connsiteX6" fmla="*/ 2790310 w 3344790"/>
              <a:gd name="connsiteY6" fmla="*/ 8389 h 2385185"/>
              <a:gd name="connsiteX0" fmla="*/ 1246639 w 3344790"/>
              <a:gd name="connsiteY0" fmla="*/ 2384653 h 2385185"/>
              <a:gd name="connsiteX1" fmla="*/ 0 w 3344790"/>
              <a:gd name="connsiteY1" fmla="*/ 8389 h 2385185"/>
              <a:gd name="connsiteX2" fmla="*/ 607055 w 3344790"/>
              <a:gd name="connsiteY2" fmla="*/ 1005474 h 2385185"/>
              <a:gd name="connsiteX3" fmla="*/ 1840705 w 3344790"/>
              <a:gd name="connsiteY3" fmla="*/ 2384653 h 2385185"/>
              <a:gd name="connsiteX4" fmla="*/ 1246639 w 3344790"/>
              <a:gd name="connsiteY4" fmla="*/ 2384653 h 2385185"/>
              <a:gd name="connsiteX0" fmla="*/ 1543672 w 3344790"/>
              <a:gd name="connsiteY0" fmla="*/ 2316216 h 2385185"/>
              <a:gd name="connsiteX1" fmla="*/ 2453692 w 3344790"/>
              <a:gd name="connsiteY1" fmla="*/ 602455 h 2385185"/>
              <a:gd name="connsiteX2" fmla="*/ 2156658 w 3344790"/>
              <a:gd name="connsiteY2" fmla="*/ 602455 h 2385185"/>
              <a:gd name="connsiteX3" fmla="*/ 2779216 w 3344790"/>
              <a:gd name="connsiteY3" fmla="*/ 0 h 2385185"/>
              <a:gd name="connsiteX4" fmla="*/ 3344790 w 3344790"/>
              <a:gd name="connsiteY4" fmla="*/ 602455 h 2385185"/>
              <a:gd name="connsiteX5" fmla="*/ 3047757 w 3344790"/>
              <a:gd name="connsiteY5" fmla="*/ 602455 h 2385185"/>
              <a:gd name="connsiteX6" fmla="*/ 1840704 w 3344790"/>
              <a:gd name="connsiteY6" fmla="*/ 2384653 h 2385185"/>
              <a:gd name="connsiteX7" fmla="*/ 1246639 w 3344790"/>
              <a:gd name="connsiteY7" fmla="*/ 2384653 h 2385185"/>
              <a:gd name="connsiteX8" fmla="*/ 111490 w 3344790"/>
              <a:gd name="connsiteY8" fmla="*/ 1008004 h 2385185"/>
              <a:gd name="connsiteX9" fmla="*/ 599282 w 3344790"/>
              <a:gd name="connsiteY9" fmla="*/ 1014178 h 2385185"/>
              <a:gd name="connsiteX10" fmla="*/ 1840705 w 3344790"/>
              <a:gd name="connsiteY10" fmla="*/ 2384653 h 2385185"/>
              <a:gd name="connsiteX0" fmla="*/ 2692892 w 3247372"/>
              <a:gd name="connsiteY0" fmla="*/ 8389 h 2385185"/>
              <a:gd name="connsiteX1" fmla="*/ 3247372 w 3247372"/>
              <a:gd name="connsiteY1" fmla="*/ 602455 h 2385185"/>
              <a:gd name="connsiteX2" fmla="*/ 2950339 w 3247372"/>
              <a:gd name="connsiteY2" fmla="*/ 602455 h 2385185"/>
              <a:gd name="connsiteX3" fmla="*/ 1446253 w 3247372"/>
              <a:gd name="connsiteY3" fmla="*/ 2316216 h 2385185"/>
              <a:gd name="connsiteX4" fmla="*/ 2356273 w 3247372"/>
              <a:gd name="connsiteY4" fmla="*/ 602455 h 2385185"/>
              <a:gd name="connsiteX5" fmla="*/ 2059240 w 3247372"/>
              <a:gd name="connsiteY5" fmla="*/ 602455 h 2385185"/>
              <a:gd name="connsiteX6" fmla="*/ 2692892 w 3247372"/>
              <a:gd name="connsiteY6" fmla="*/ 8389 h 2385185"/>
              <a:gd name="connsiteX0" fmla="*/ 1149221 w 3247372"/>
              <a:gd name="connsiteY0" fmla="*/ 2384653 h 2385185"/>
              <a:gd name="connsiteX1" fmla="*/ 0 w 3247372"/>
              <a:gd name="connsiteY1" fmla="*/ 1010922 h 2385185"/>
              <a:gd name="connsiteX2" fmla="*/ 509637 w 3247372"/>
              <a:gd name="connsiteY2" fmla="*/ 1005474 h 2385185"/>
              <a:gd name="connsiteX3" fmla="*/ 1743287 w 3247372"/>
              <a:gd name="connsiteY3" fmla="*/ 2384653 h 2385185"/>
              <a:gd name="connsiteX4" fmla="*/ 1149221 w 3247372"/>
              <a:gd name="connsiteY4" fmla="*/ 2384653 h 2385185"/>
              <a:gd name="connsiteX0" fmla="*/ 1446254 w 3247372"/>
              <a:gd name="connsiteY0" fmla="*/ 2316216 h 2385185"/>
              <a:gd name="connsiteX1" fmla="*/ 2356274 w 3247372"/>
              <a:gd name="connsiteY1" fmla="*/ 602455 h 2385185"/>
              <a:gd name="connsiteX2" fmla="*/ 2059240 w 3247372"/>
              <a:gd name="connsiteY2" fmla="*/ 602455 h 2385185"/>
              <a:gd name="connsiteX3" fmla="*/ 2681798 w 3247372"/>
              <a:gd name="connsiteY3" fmla="*/ 0 h 2385185"/>
              <a:gd name="connsiteX4" fmla="*/ 3247372 w 3247372"/>
              <a:gd name="connsiteY4" fmla="*/ 602455 h 2385185"/>
              <a:gd name="connsiteX5" fmla="*/ 2950339 w 3247372"/>
              <a:gd name="connsiteY5" fmla="*/ 602455 h 2385185"/>
              <a:gd name="connsiteX6" fmla="*/ 1743286 w 3247372"/>
              <a:gd name="connsiteY6" fmla="*/ 2384653 h 2385185"/>
              <a:gd name="connsiteX7" fmla="*/ 1149221 w 3247372"/>
              <a:gd name="connsiteY7" fmla="*/ 2384653 h 2385185"/>
              <a:gd name="connsiteX8" fmla="*/ 14072 w 3247372"/>
              <a:gd name="connsiteY8" fmla="*/ 1008004 h 2385185"/>
              <a:gd name="connsiteX9" fmla="*/ 501864 w 3247372"/>
              <a:gd name="connsiteY9" fmla="*/ 1014178 h 2385185"/>
              <a:gd name="connsiteX10" fmla="*/ 1743287 w 3247372"/>
              <a:gd name="connsiteY10" fmla="*/ 2384653 h 2385185"/>
              <a:gd name="connsiteX0" fmla="*/ 2692892 w 3247372"/>
              <a:gd name="connsiteY0" fmla="*/ 8389 h 2385185"/>
              <a:gd name="connsiteX1" fmla="*/ 3247372 w 3247372"/>
              <a:gd name="connsiteY1" fmla="*/ 602455 h 2385185"/>
              <a:gd name="connsiteX2" fmla="*/ 2950339 w 3247372"/>
              <a:gd name="connsiteY2" fmla="*/ 602455 h 2385185"/>
              <a:gd name="connsiteX3" fmla="*/ 1446253 w 3247372"/>
              <a:gd name="connsiteY3" fmla="*/ 2316216 h 2385185"/>
              <a:gd name="connsiteX4" fmla="*/ 2356273 w 3247372"/>
              <a:gd name="connsiteY4" fmla="*/ 602455 h 2385185"/>
              <a:gd name="connsiteX5" fmla="*/ 2059240 w 3247372"/>
              <a:gd name="connsiteY5" fmla="*/ 602455 h 2385185"/>
              <a:gd name="connsiteX6" fmla="*/ 2692892 w 3247372"/>
              <a:gd name="connsiteY6" fmla="*/ 8389 h 2385185"/>
              <a:gd name="connsiteX0" fmla="*/ 1149221 w 3247372"/>
              <a:gd name="connsiteY0" fmla="*/ 2384653 h 2385185"/>
              <a:gd name="connsiteX1" fmla="*/ 0 w 3247372"/>
              <a:gd name="connsiteY1" fmla="*/ 1010922 h 2385185"/>
              <a:gd name="connsiteX2" fmla="*/ 509637 w 3247372"/>
              <a:gd name="connsiteY2" fmla="*/ 1005474 h 2385185"/>
              <a:gd name="connsiteX3" fmla="*/ 1743287 w 3247372"/>
              <a:gd name="connsiteY3" fmla="*/ 2384653 h 2385185"/>
              <a:gd name="connsiteX4" fmla="*/ 1149221 w 3247372"/>
              <a:gd name="connsiteY4" fmla="*/ 2384653 h 2385185"/>
              <a:gd name="connsiteX0" fmla="*/ 1361825 w 3247372"/>
              <a:gd name="connsiteY0" fmla="*/ 2365253 h 2385185"/>
              <a:gd name="connsiteX1" fmla="*/ 2356274 w 3247372"/>
              <a:gd name="connsiteY1" fmla="*/ 602455 h 2385185"/>
              <a:gd name="connsiteX2" fmla="*/ 2059240 w 3247372"/>
              <a:gd name="connsiteY2" fmla="*/ 602455 h 2385185"/>
              <a:gd name="connsiteX3" fmla="*/ 2681798 w 3247372"/>
              <a:gd name="connsiteY3" fmla="*/ 0 h 2385185"/>
              <a:gd name="connsiteX4" fmla="*/ 3247372 w 3247372"/>
              <a:gd name="connsiteY4" fmla="*/ 602455 h 2385185"/>
              <a:gd name="connsiteX5" fmla="*/ 2950339 w 3247372"/>
              <a:gd name="connsiteY5" fmla="*/ 602455 h 2385185"/>
              <a:gd name="connsiteX6" fmla="*/ 1743286 w 3247372"/>
              <a:gd name="connsiteY6" fmla="*/ 2384653 h 2385185"/>
              <a:gd name="connsiteX7" fmla="*/ 1149221 w 3247372"/>
              <a:gd name="connsiteY7" fmla="*/ 2384653 h 2385185"/>
              <a:gd name="connsiteX8" fmla="*/ 14072 w 3247372"/>
              <a:gd name="connsiteY8" fmla="*/ 1008004 h 2385185"/>
              <a:gd name="connsiteX9" fmla="*/ 501864 w 3247372"/>
              <a:gd name="connsiteY9" fmla="*/ 1014178 h 2385185"/>
              <a:gd name="connsiteX10" fmla="*/ 1743287 w 3247372"/>
              <a:gd name="connsiteY10" fmla="*/ 2384653 h 2385185"/>
              <a:gd name="connsiteX0" fmla="*/ 2692892 w 3247372"/>
              <a:gd name="connsiteY0" fmla="*/ 8389 h 2444587"/>
              <a:gd name="connsiteX1" fmla="*/ 3247372 w 3247372"/>
              <a:gd name="connsiteY1" fmla="*/ 602455 h 2444587"/>
              <a:gd name="connsiteX2" fmla="*/ 2950339 w 3247372"/>
              <a:gd name="connsiteY2" fmla="*/ 602455 h 2444587"/>
              <a:gd name="connsiteX3" fmla="*/ 1446253 w 3247372"/>
              <a:gd name="connsiteY3" fmla="*/ 2316216 h 2444587"/>
              <a:gd name="connsiteX4" fmla="*/ 2356273 w 3247372"/>
              <a:gd name="connsiteY4" fmla="*/ 602455 h 2444587"/>
              <a:gd name="connsiteX5" fmla="*/ 2059240 w 3247372"/>
              <a:gd name="connsiteY5" fmla="*/ 602455 h 2444587"/>
              <a:gd name="connsiteX6" fmla="*/ 2692892 w 3247372"/>
              <a:gd name="connsiteY6" fmla="*/ 8389 h 2444587"/>
              <a:gd name="connsiteX0" fmla="*/ 1149221 w 3247372"/>
              <a:gd name="connsiteY0" fmla="*/ 2384653 h 2444587"/>
              <a:gd name="connsiteX1" fmla="*/ 0 w 3247372"/>
              <a:gd name="connsiteY1" fmla="*/ 1010922 h 2444587"/>
              <a:gd name="connsiteX2" fmla="*/ 509637 w 3247372"/>
              <a:gd name="connsiteY2" fmla="*/ 1005474 h 2444587"/>
              <a:gd name="connsiteX3" fmla="*/ 1743287 w 3247372"/>
              <a:gd name="connsiteY3" fmla="*/ 2384653 h 2444587"/>
              <a:gd name="connsiteX4" fmla="*/ 1149221 w 3247372"/>
              <a:gd name="connsiteY4" fmla="*/ 2384653 h 2444587"/>
              <a:gd name="connsiteX0" fmla="*/ 1361825 w 3247372"/>
              <a:gd name="connsiteY0" fmla="*/ 2365253 h 2444587"/>
              <a:gd name="connsiteX1" fmla="*/ 2356274 w 3247372"/>
              <a:gd name="connsiteY1" fmla="*/ 602455 h 2444587"/>
              <a:gd name="connsiteX2" fmla="*/ 2059240 w 3247372"/>
              <a:gd name="connsiteY2" fmla="*/ 602455 h 2444587"/>
              <a:gd name="connsiteX3" fmla="*/ 2681798 w 3247372"/>
              <a:gd name="connsiteY3" fmla="*/ 0 h 2444587"/>
              <a:gd name="connsiteX4" fmla="*/ 3247372 w 3247372"/>
              <a:gd name="connsiteY4" fmla="*/ 602455 h 2444587"/>
              <a:gd name="connsiteX5" fmla="*/ 2950339 w 3247372"/>
              <a:gd name="connsiteY5" fmla="*/ 602455 h 2444587"/>
              <a:gd name="connsiteX6" fmla="*/ 1743286 w 3247372"/>
              <a:gd name="connsiteY6" fmla="*/ 2384653 h 2444587"/>
              <a:gd name="connsiteX7" fmla="*/ 1136232 w 3247372"/>
              <a:gd name="connsiteY7" fmla="*/ 2444587 h 2444587"/>
              <a:gd name="connsiteX8" fmla="*/ 14072 w 3247372"/>
              <a:gd name="connsiteY8" fmla="*/ 1008004 h 2444587"/>
              <a:gd name="connsiteX9" fmla="*/ 501864 w 3247372"/>
              <a:gd name="connsiteY9" fmla="*/ 1014178 h 2444587"/>
              <a:gd name="connsiteX10" fmla="*/ 1743287 w 3247372"/>
              <a:gd name="connsiteY10" fmla="*/ 2384653 h 2444587"/>
              <a:gd name="connsiteX0" fmla="*/ 2692892 w 3247372"/>
              <a:gd name="connsiteY0" fmla="*/ 8389 h 2390101"/>
              <a:gd name="connsiteX1" fmla="*/ 3247372 w 3247372"/>
              <a:gd name="connsiteY1" fmla="*/ 602455 h 2390101"/>
              <a:gd name="connsiteX2" fmla="*/ 2950339 w 3247372"/>
              <a:gd name="connsiteY2" fmla="*/ 602455 h 2390101"/>
              <a:gd name="connsiteX3" fmla="*/ 1446253 w 3247372"/>
              <a:gd name="connsiteY3" fmla="*/ 2316216 h 2390101"/>
              <a:gd name="connsiteX4" fmla="*/ 2356273 w 3247372"/>
              <a:gd name="connsiteY4" fmla="*/ 602455 h 2390101"/>
              <a:gd name="connsiteX5" fmla="*/ 2059240 w 3247372"/>
              <a:gd name="connsiteY5" fmla="*/ 602455 h 2390101"/>
              <a:gd name="connsiteX6" fmla="*/ 2692892 w 3247372"/>
              <a:gd name="connsiteY6" fmla="*/ 8389 h 2390101"/>
              <a:gd name="connsiteX0" fmla="*/ 1149221 w 3247372"/>
              <a:gd name="connsiteY0" fmla="*/ 2384653 h 2390101"/>
              <a:gd name="connsiteX1" fmla="*/ 0 w 3247372"/>
              <a:gd name="connsiteY1" fmla="*/ 1010922 h 2390101"/>
              <a:gd name="connsiteX2" fmla="*/ 509637 w 3247372"/>
              <a:gd name="connsiteY2" fmla="*/ 1005474 h 2390101"/>
              <a:gd name="connsiteX3" fmla="*/ 1743287 w 3247372"/>
              <a:gd name="connsiteY3" fmla="*/ 2384653 h 2390101"/>
              <a:gd name="connsiteX4" fmla="*/ 1149221 w 3247372"/>
              <a:gd name="connsiteY4" fmla="*/ 2384653 h 2390101"/>
              <a:gd name="connsiteX0" fmla="*/ 1361825 w 3247372"/>
              <a:gd name="connsiteY0" fmla="*/ 2365253 h 2390101"/>
              <a:gd name="connsiteX1" fmla="*/ 2356274 w 3247372"/>
              <a:gd name="connsiteY1" fmla="*/ 602455 h 2390101"/>
              <a:gd name="connsiteX2" fmla="*/ 2059240 w 3247372"/>
              <a:gd name="connsiteY2" fmla="*/ 602455 h 2390101"/>
              <a:gd name="connsiteX3" fmla="*/ 2681798 w 3247372"/>
              <a:gd name="connsiteY3" fmla="*/ 0 h 2390101"/>
              <a:gd name="connsiteX4" fmla="*/ 3247372 w 3247372"/>
              <a:gd name="connsiteY4" fmla="*/ 602455 h 2390101"/>
              <a:gd name="connsiteX5" fmla="*/ 2950339 w 3247372"/>
              <a:gd name="connsiteY5" fmla="*/ 602455 h 2390101"/>
              <a:gd name="connsiteX6" fmla="*/ 1743286 w 3247372"/>
              <a:gd name="connsiteY6" fmla="*/ 2384653 h 2390101"/>
              <a:gd name="connsiteX7" fmla="*/ 1175199 w 3247372"/>
              <a:gd name="connsiteY7" fmla="*/ 2390101 h 2390101"/>
              <a:gd name="connsiteX8" fmla="*/ 14072 w 3247372"/>
              <a:gd name="connsiteY8" fmla="*/ 1008004 h 2390101"/>
              <a:gd name="connsiteX9" fmla="*/ 501864 w 3247372"/>
              <a:gd name="connsiteY9" fmla="*/ 1014178 h 2390101"/>
              <a:gd name="connsiteX10" fmla="*/ 1743287 w 3247372"/>
              <a:gd name="connsiteY10" fmla="*/ 2384653 h 2390101"/>
              <a:gd name="connsiteX0" fmla="*/ 2692892 w 3247372"/>
              <a:gd name="connsiteY0" fmla="*/ 8389 h 2431342"/>
              <a:gd name="connsiteX1" fmla="*/ 3247372 w 3247372"/>
              <a:gd name="connsiteY1" fmla="*/ 602455 h 2431342"/>
              <a:gd name="connsiteX2" fmla="*/ 2950339 w 3247372"/>
              <a:gd name="connsiteY2" fmla="*/ 602455 h 2431342"/>
              <a:gd name="connsiteX3" fmla="*/ 1394297 w 3247372"/>
              <a:gd name="connsiteY3" fmla="*/ 2365253 h 2431342"/>
              <a:gd name="connsiteX4" fmla="*/ 2356273 w 3247372"/>
              <a:gd name="connsiteY4" fmla="*/ 602455 h 2431342"/>
              <a:gd name="connsiteX5" fmla="*/ 2059240 w 3247372"/>
              <a:gd name="connsiteY5" fmla="*/ 602455 h 2431342"/>
              <a:gd name="connsiteX6" fmla="*/ 2692892 w 3247372"/>
              <a:gd name="connsiteY6" fmla="*/ 8389 h 2431342"/>
              <a:gd name="connsiteX0" fmla="*/ 1149221 w 3247372"/>
              <a:gd name="connsiteY0" fmla="*/ 2384653 h 2431342"/>
              <a:gd name="connsiteX1" fmla="*/ 0 w 3247372"/>
              <a:gd name="connsiteY1" fmla="*/ 1010922 h 2431342"/>
              <a:gd name="connsiteX2" fmla="*/ 509637 w 3247372"/>
              <a:gd name="connsiteY2" fmla="*/ 1005474 h 2431342"/>
              <a:gd name="connsiteX3" fmla="*/ 1743287 w 3247372"/>
              <a:gd name="connsiteY3" fmla="*/ 2384653 h 2431342"/>
              <a:gd name="connsiteX4" fmla="*/ 1149221 w 3247372"/>
              <a:gd name="connsiteY4" fmla="*/ 2384653 h 2431342"/>
              <a:gd name="connsiteX0" fmla="*/ 1361825 w 3247372"/>
              <a:gd name="connsiteY0" fmla="*/ 2365253 h 2431342"/>
              <a:gd name="connsiteX1" fmla="*/ 2356274 w 3247372"/>
              <a:gd name="connsiteY1" fmla="*/ 602455 h 2431342"/>
              <a:gd name="connsiteX2" fmla="*/ 2059240 w 3247372"/>
              <a:gd name="connsiteY2" fmla="*/ 602455 h 2431342"/>
              <a:gd name="connsiteX3" fmla="*/ 2681798 w 3247372"/>
              <a:gd name="connsiteY3" fmla="*/ 0 h 2431342"/>
              <a:gd name="connsiteX4" fmla="*/ 3247372 w 3247372"/>
              <a:gd name="connsiteY4" fmla="*/ 602455 h 2431342"/>
              <a:gd name="connsiteX5" fmla="*/ 2950339 w 3247372"/>
              <a:gd name="connsiteY5" fmla="*/ 602455 h 2431342"/>
              <a:gd name="connsiteX6" fmla="*/ 1743286 w 3247372"/>
              <a:gd name="connsiteY6" fmla="*/ 2384653 h 2431342"/>
              <a:gd name="connsiteX7" fmla="*/ 1175199 w 3247372"/>
              <a:gd name="connsiteY7" fmla="*/ 2390101 h 2431342"/>
              <a:gd name="connsiteX8" fmla="*/ 14072 w 3247372"/>
              <a:gd name="connsiteY8" fmla="*/ 1008004 h 2431342"/>
              <a:gd name="connsiteX9" fmla="*/ 501864 w 3247372"/>
              <a:gd name="connsiteY9" fmla="*/ 1014178 h 2431342"/>
              <a:gd name="connsiteX10" fmla="*/ 1743287 w 3247372"/>
              <a:gd name="connsiteY10" fmla="*/ 2384653 h 2431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47372" h="2431342" stroke="0" extrusionOk="0">
                <a:moveTo>
                  <a:pt x="2692892" y="8389"/>
                </a:moveTo>
                <a:lnTo>
                  <a:pt x="3247372" y="602455"/>
                </a:lnTo>
                <a:lnTo>
                  <a:pt x="2950339" y="602455"/>
                </a:lnTo>
                <a:cubicBezTo>
                  <a:pt x="2779685" y="1862298"/>
                  <a:pt x="2057254" y="2675276"/>
                  <a:pt x="1394297" y="2365253"/>
                </a:cubicBezTo>
                <a:cubicBezTo>
                  <a:pt x="1840001" y="2156825"/>
                  <a:pt x="2241543" y="1449443"/>
                  <a:pt x="2356273" y="602455"/>
                </a:cubicBezTo>
                <a:lnTo>
                  <a:pt x="2059240" y="602455"/>
                </a:lnTo>
                <a:lnTo>
                  <a:pt x="2692892" y="8389"/>
                </a:lnTo>
                <a:close/>
              </a:path>
              <a:path w="3247372" h="2431342" fill="darkenLess" stroke="0" extrusionOk="0">
                <a:moveTo>
                  <a:pt x="1149221" y="2384653"/>
                </a:moveTo>
                <a:cubicBezTo>
                  <a:pt x="460721" y="2384653"/>
                  <a:pt x="0" y="2323296"/>
                  <a:pt x="0" y="1010922"/>
                </a:cubicBezTo>
                <a:lnTo>
                  <a:pt x="509637" y="1005474"/>
                </a:lnTo>
                <a:cubicBezTo>
                  <a:pt x="509637" y="2317848"/>
                  <a:pt x="1054787" y="2384653"/>
                  <a:pt x="1743287" y="2384653"/>
                </a:cubicBezTo>
                <a:lnTo>
                  <a:pt x="1149221" y="2384653"/>
                </a:lnTo>
                <a:close/>
              </a:path>
              <a:path w="3247372" h="2431342" fill="none" extrusionOk="0">
                <a:moveTo>
                  <a:pt x="1361825" y="2365253"/>
                </a:moveTo>
                <a:cubicBezTo>
                  <a:pt x="1807529" y="2156825"/>
                  <a:pt x="2241544" y="1449443"/>
                  <a:pt x="2356274" y="602455"/>
                </a:cubicBezTo>
                <a:lnTo>
                  <a:pt x="2059240" y="602455"/>
                </a:lnTo>
                <a:lnTo>
                  <a:pt x="2681798" y="0"/>
                </a:lnTo>
                <a:lnTo>
                  <a:pt x="3247372" y="602455"/>
                </a:lnTo>
                <a:lnTo>
                  <a:pt x="2950339" y="602455"/>
                </a:lnTo>
                <a:cubicBezTo>
                  <a:pt x="2808223" y="1651619"/>
                  <a:pt x="2311751" y="2384653"/>
                  <a:pt x="1743286" y="2384653"/>
                </a:cubicBezTo>
                <a:lnTo>
                  <a:pt x="1175199" y="2390101"/>
                </a:lnTo>
                <a:cubicBezTo>
                  <a:pt x="486699" y="2390101"/>
                  <a:pt x="14072" y="2320378"/>
                  <a:pt x="14072" y="1008004"/>
                </a:cubicBezTo>
                <a:lnTo>
                  <a:pt x="501864" y="1014178"/>
                </a:lnTo>
                <a:cubicBezTo>
                  <a:pt x="501864" y="2326552"/>
                  <a:pt x="1054787" y="2384653"/>
                  <a:pt x="1743287" y="2384653"/>
                </a:cubicBezTo>
              </a:path>
            </a:pathLst>
          </a:custGeom>
          <a:solidFill>
            <a:srgbClr val="FCD400"/>
          </a:solidFill>
          <a:ln w="25400">
            <a:solidFill>
              <a:srgbClr val="010A4F"/>
            </a:solidFill>
          </a:ln>
          <a:effectLst/>
          <a:scene3d>
            <a:camera prst="orthographicFront"/>
            <a:lightRig rig="flat" dir="t"/>
          </a:scene3d>
          <a:sp3d>
            <a:extrusionClr>
              <a:schemeClr val="bg1"/>
            </a:extrusionClr>
            <a:contourClr>
              <a:schemeClr val="bg1"/>
            </a:contourClr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ctr" hangingPunct="0">
              <a:buClr>
                <a:srgbClr val="FF0000"/>
              </a:buClr>
              <a:buSzPct val="70000"/>
              <a:tabLst>
                <a:tab pos="136522" algn="l"/>
              </a:tabLst>
            </a:pPr>
            <a:endParaRPr lang="fr-FR" sz="1400" dirty="0">
              <a:solidFill>
                <a:schemeClr val="tx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grpSp>
        <p:nvGrpSpPr>
          <p:cNvPr id="20" name="Group 4">
            <a:extLst>
              <a:ext uri="{FF2B5EF4-FFF2-40B4-BE49-F238E27FC236}">
                <a16:creationId xmlns:a16="http://schemas.microsoft.com/office/drawing/2014/main" id="{E9BACE97-E943-4961-B210-66E0D6EE7F7D}"/>
              </a:ext>
            </a:extLst>
          </p:cNvPr>
          <p:cNvGrpSpPr/>
          <p:nvPr/>
        </p:nvGrpSpPr>
        <p:grpSpPr>
          <a:xfrm>
            <a:off x="5107783" y="3904229"/>
            <a:ext cx="2067901" cy="1695464"/>
            <a:chOff x="4620835" y="2564296"/>
            <a:chExt cx="2346850" cy="2346850"/>
          </a:xfrm>
        </p:grpSpPr>
        <p:sp>
          <p:nvSpPr>
            <p:cNvPr id="21" name="Oval 3">
              <a:extLst>
                <a:ext uri="{FF2B5EF4-FFF2-40B4-BE49-F238E27FC236}">
                  <a16:creationId xmlns:a16="http://schemas.microsoft.com/office/drawing/2014/main" id="{C277EDFB-8B73-41DF-9748-A4E19AD78358}"/>
                </a:ext>
              </a:extLst>
            </p:cNvPr>
            <p:cNvSpPr/>
            <p:nvPr/>
          </p:nvSpPr>
          <p:spPr>
            <a:xfrm>
              <a:off x="4620835" y="2564296"/>
              <a:ext cx="2346850" cy="2346850"/>
            </a:xfrm>
            <a:prstGeom prst="ellipse">
              <a:avLst/>
            </a:prstGeom>
            <a:gradFill flip="none" rotWithShape="1">
              <a:gsLst>
                <a:gs pos="28000">
                  <a:schemeClr val="bg1">
                    <a:lumMod val="95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  <a:lin ang="24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3" name="Oval 2">
              <a:extLst>
                <a:ext uri="{FF2B5EF4-FFF2-40B4-BE49-F238E27FC236}">
                  <a16:creationId xmlns:a16="http://schemas.microsoft.com/office/drawing/2014/main" id="{183D087F-ACB1-4859-83A7-F73F16746712}"/>
                </a:ext>
              </a:extLst>
            </p:cNvPr>
            <p:cNvSpPr/>
            <p:nvPr/>
          </p:nvSpPr>
          <p:spPr>
            <a:xfrm>
              <a:off x="4689203" y="2632664"/>
              <a:ext cx="2210114" cy="2210114"/>
            </a:xfrm>
            <a:prstGeom prst="ellipse">
              <a:avLst/>
            </a:prstGeom>
            <a:gradFill flip="none" rotWithShape="1">
              <a:gsLst>
                <a:gs pos="2800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135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24" name="Isosceles Triangle 6">
            <a:extLst>
              <a:ext uri="{FF2B5EF4-FFF2-40B4-BE49-F238E27FC236}">
                <a16:creationId xmlns:a16="http://schemas.microsoft.com/office/drawing/2014/main" id="{D579D539-5BB1-4091-8C0E-92158E6B9614}"/>
              </a:ext>
            </a:extLst>
          </p:cNvPr>
          <p:cNvSpPr/>
          <p:nvPr/>
        </p:nvSpPr>
        <p:spPr>
          <a:xfrm rot="14353481" flipH="1">
            <a:off x="7111454" y="3934981"/>
            <a:ext cx="377125" cy="325107"/>
          </a:xfrm>
          <a:custGeom>
            <a:avLst/>
            <a:gdLst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081" h="613000">
                <a:moveTo>
                  <a:pt x="0" y="613000"/>
                </a:moveTo>
                <a:lnTo>
                  <a:pt x="355541" y="0"/>
                </a:lnTo>
                <a:lnTo>
                  <a:pt x="711081" y="613000"/>
                </a:lnTo>
                <a:cubicBezTo>
                  <a:pt x="434650" y="549938"/>
                  <a:pt x="292214" y="547310"/>
                  <a:pt x="0" y="61300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1DBB074-185D-4698-BC0C-7C3C8B6749A4}"/>
              </a:ext>
            </a:extLst>
          </p:cNvPr>
          <p:cNvSpPr/>
          <p:nvPr/>
        </p:nvSpPr>
        <p:spPr>
          <a:xfrm rot="19813210">
            <a:off x="7907327" y="3659156"/>
            <a:ext cx="667604" cy="586821"/>
          </a:xfrm>
          <a:prstGeom prst="rect">
            <a:avLst/>
          </a:prstGeom>
          <a:gradFill flip="none" rotWithShape="1">
            <a:gsLst>
              <a:gs pos="32000">
                <a:schemeClr val="tx1">
                  <a:alpha val="16000"/>
                </a:schemeClr>
              </a:gs>
              <a:gs pos="86000">
                <a:schemeClr val="bg1">
                  <a:lumMod val="9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6" name="Oval 18">
            <a:extLst>
              <a:ext uri="{FF2B5EF4-FFF2-40B4-BE49-F238E27FC236}">
                <a16:creationId xmlns:a16="http://schemas.microsoft.com/office/drawing/2014/main" id="{4E496E0E-76AA-4F52-9146-3148B4F1F798}"/>
              </a:ext>
            </a:extLst>
          </p:cNvPr>
          <p:cNvSpPr/>
          <p:nvPr/>
        </p:nvSpPr>
        <p:spPr>
          <a:xfrm>
            <a:off x="7597122" y="3278792"/>
            <a:ext cx="846852" cy="780117"/>
          </a:xfrm>
          <a:prstGeom prst="ellipse">
            <a:avLst/>
          </a:prstGeom>
          <a:gradFill>
            <a:gsLst>
              <a:gs pos="28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27" name="Group 22">
            <a:extLst>
              <a:ext uri="{FF2B5EF4-FFF2-40B4-BE49-F238E27FC236}">
                <a16:creationId xmlns:a16="http://schemas.microsoft.com/office/drawing/2014/main" id="{08A21E9B-9A83-425F-8FEC-94FA2786050D}"/>
              </a:ext>
            </a:extLst>
          </p:cNvPr>
          <p:cNvGrpSpPr/>
          <p:nvPr/>
        </p:nvGrpSpPr>
        <p:grpSpPr>
          <a:xfrm flipH="1">
            <a:off x="7474685" y="3172499"/>
            <a:ext cx="1051715" cy="968835"/>
            <a:chOff x="9461596" y="1229846"/>
            <a:chExt cx="1424118" cy="1424116"/>
          </a:xfrm>
        </p:grpSpPr>
        <p:sp>
          <p:nvSpPr>
            <p:cNvPr id="28" name="Oval 17">
              <a:extLst>
                <a:ext uri="{FF2B5EF4-FFF2-40B4-BE49-F238E27FC236}">
                  <a16:creationId xmlns:a16="http://schemas.microsoft.com/office/drawing/2014/main" id="{B7D6EAFC-0EF8-41BE-9750-08C15A2E82E1}"/>
                </a:ext>
              </a:extLst>
            </p:cNvPr>
            <p:cNvSpPr/>
            <p:nvPr/>
          </p:nvSpPr>
          <p:spPr>
            <a:xfrm>
              <a:off x="9461596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38100" cap="rnd">
              <a:gradFill>
                <a:gsLst>
                  <a:gs pos="0">
                    <a:schemeClr val="accent6"/>
                  </a:gs>
                  <a:gs pos="100000">
                    <a:schemeClr val="accent5"/>
                  </a:gs>
                </a:gsLst>
                <a:lin ang="5400000" scaled="1"/>
              </a:gra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9" name="Oval 17">
              <a:extLst>
                <a:ext uri="{FF2B5EF4-FFF2-40B4-BE49-F238E27FC236}">
                  <a16:creationId xmlns:a16="http://schemas.microsoft.com/office/drawing/2014/main" id="{62333AE3-B4E6-4EEA-B74C-A43AFA7C4D9F}"/>
                </a:ext>
              </a:extLst>
            </p:cNvPr>
            <p:cNvSpPr/>
            <p:nvPr/>
          </p:nvSpPr>
          <p:spPr>
            <a:xfrm flipH="1">
              <a:off x="10173655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63500" cap="rnd">
              <a:gradFill>
                <a:gsLst>
                  <a:gs pos="2000">
                    <a:schemeClr val="accent6"/>
                  </a:gs>
                  <a:gs pos="100000">
                    <a:schemeClr val="accent5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38" name="Isosceles Triangle 6">
            <a:extLst>
              <a:ext uri="{FF2B5EF4-FFF2-40B4-BE49-F238E27FC236}">
                <a16:creationId xmlns:a16="http://schemas.microsoft.com/office/drawing/2014/main" id="{BE1DCD86-BF41-4887-8EB7-19D2C5078900}"/>
              </a:ext>
            </a:extLst>
          </p:cNvPr>
          <p:cNvSpPr/>
          <p:nvPr/>
        </p:nvSpPr>
        <p:spPr>
          <a:xfrm rot="7299902">
            <a:off x="4502906" y="3934981"/>
            <a:ext cx="377125" cy="325107"/>
          </a:xfrm>
          <a:custGeom>
            <a:avLst/>
            <a:gdLst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081" h="613000">
                <a:moveTo>
                  <a:pt x="0" y="613000"/>
                </a:moveTo>
                <a:lnTo>
                  <a:pt x="355541" y="0"/>
                </a:lnTo>
                <a:lnTo>
                  <a:pt x="711081" y="613000"/>
                </a:lnTo>
                <a:cubicBezTo>
                  <a:pt x="434650" y="549938"/>
                  <a:pt x="292214" y="547310"/>
                  <a:pt x="0" y="61300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39" name="Isosceles Triangle 6">
            <a:extLst>
              <a:ext uri="{FF2B5EF4-FFF2-40B4-BE49-F238E27FC236}">
                <a16:creationId xmlns:a16="http://schemas.microsoft.com/office/drawing/2014/main" id="{8A5BCEDD-DB00-4ACA-B5DF-A8ABB1D77F74}"/>
              </a:ext>
            </a:extLst>
          </p:cNvPr>
          <p:cNvSpPr/>
          <p:nvPr/>
        </p:nvSpPr>
        <p:spPr>
          <a:xfrm rot="7092213" flipH="1" flipV="1">
            <a:off x="7111454" y="5301882"/>
            <a:ext cx="377125" cy="325107"/>
          </a:xfrm>
          <a:custGeom>
            <a:avLst/>
            <a:gdLst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081" h="613000">
                <a:moveTo>
                  <a:pt x="0" y="613000"/>
                </a:moveTo>
                <a:lnTo>
                  <a:pt x="355541" y="0"/>
                </a:lnTo>
                <a:lnTo>
                  <a:pt x="711081" y="613000"/>
                </a:lnTo>
                <a:cubicBezTo>
                  <a:pt x="434650" y="549938"/>
                  <a:pt x="292214" y="547310"/>
                  <a:pt x="0" y="61300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0" name="Isosceles Triangle 6">
            <a:extLst>
              <a:ext uri="{FF2B5EF4-FFF2-40B4-BE49-F238E27FC236}">
                <a16:creationId xmlns:a16="http://schemas.microsoft.com/office/drawing/2014/main" id="{11A23839-79E8-413C-BC1F-0A3C3EE1657E}"/>
              </a:ext>
            </a:extLst>
          </p:cNvPr>
          <p:cNvSpPr/>
          <p:nvPr/>
        </p:nvSpPr>
        <p:spPr>
          <a:xfrm rot="14507787" flipV="1">
            <a:off x="4502906" y="5301882"/>
            <a:ext cx="377125" cy="325107"/>
          </a:xfrm>
          <a:custGeom>
            <a:avLst/>
            <a:gdLst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  <a:gd name="connsiteX0" fmla="*/ 0 w 711081"/>
              <a:gd name="connsiteY0" fmla="*/ 613000 h 613000"/>
              <a:gd name="connsiteX1" fmla="*/ 355541 w 711081"/>
              <a:gd name="connsiteY1" fmla="*/ 0 h 613000"/>
              <a:gd name="connsiteX2" fmla="*/ 711081 w 711081"/>
              <a:gd name="connsiteY2" fmla="*/ 613000 h 613000"/>
              <a:gd name="connsiteX3" fmla="*/ 0 w 711081"/>
              <a:gd name="connsiteY3" fmla="*/ 613000 h 61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1081" h="613000">
                <a:moveTo>
                  <a:pt x="0" y="613000"/>
                </a:moveTo>
                <a:lnTo>
                  <a:pt x="355541" y="0"/>
                </a:lnTo>
                <a:lnTo>
                  <a:pt x="711081" y="613000"/>
                </a:lnTo>
                <a:cubicBezTo>
                  <a:pt x="434650" y="549938"/>
                  <a:pt x="292214" y="547310"/>
                  <a:pt x="0" y="61300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B6D9E42E-4DCB-499F-9B71-7E31ED7ECA8A}"/>
              </a:ext>
            </a:extLst>
          </p:cNvPr>
          <p:cNvSpPr/>
          <p:nvPr/>
        </p:nvSpPr>
        <p:spPr>
          <a:xfrm rot="19813210">
            <a:off x="3853087" y="3659156"/>
            <a:ext cx="667604" cy="586821"/>
          </a:xfrm>
          <a:prstGeom prst="rect">
            <a:avLst/>
          </a:prstGeom>
          <a:gradFill flip="none" rotWithShape="1">
            <a:gsLst>
              <a:gs pos="32000">
                <a:schemeClr val="tx1">
                  <a:alpha val="16000"/>
                </a:schemeClr>
              </a:gs>
              <a:gs pos="86000">
                <a:schemeClr val="bg1">
                  <a:lumMod val="9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2" name="Oval 30">
            <a:extLst>
              <a:ext uri="{FF2B5EF4-FFF2-40B4-BE49-F238E27FC236}">
                <a16:creationId xmlns:a16="http://schemas.microsoft.com/office/drawing/2014/main" id="{6D94D2EC-EF2E-4A18-A527-F9A9981F7A5A}"/>
              </a:ext>
            </a:extLst>
          </p:cNvPr>
          <p:cNvSpPr/>
          <p:nvPr/>
        </p:nvSpPr>
        <p:spPr>
          <a:xfrm>
            <a:off x="3535047" y="3278792"/>
            <a:ext cx="854688" cy="780117"/>
          </a:xfrm>
          <a:prstGeom prst="ellipse">
            <a:avLst/>
          </a:prstGeom>
          <a:gradFill>
            <a:gsLst>
              <a:gs pos="28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43" name="Group 31">
            <a:extLst>
              <a:ext uri="{FF2B5EF4-FFF2-40B4-BE49-F238E27FC236}">
                <a16:creationId xmlns:a16="http://schemas.microsoft.com/office/drawing/2014/main" id="{8B10CEC5-C641-4027-9703-961BC7DC4528}"/>
              </a:ext>
            </a:extLst>
          </p:cNvPr>
          <p:cNvGrpSpPr/>
          <p:nvPr/>
        </p:nvGrpSpPr>
        <p:grpSpPr>
          <a:xfrm flipH="1">
            <a:off x="3410715" y="3172499"/>
            <a:ext cx="1061447" cy="968835"/>
            <a:chOff x="9461596" y="1229846"/>
            <a:chExt cx="1424118" cy="1424116"/>
          </a:xfrm>
        </p:grpSpPr>
        <p:sp>
          <p:nvSpPr>
            <p:cNvPr id="44" name="Oval 17">
              <a:extLst>
                <a:ext uri="{FF2B5EF4-FFF2-40B4-BE49-F238E27FC236}">
                  <a16:creationId xmlns:a16="http://schemas.microsoft.com/office/drawing/2014/main" id="{2D7A202F-63AC-4326-A4A1-88999C3FA0C2}"/>
                </a:ext>
              </a:extLst>
            </p:cNvPr>
            <p:cNvSpPr/>
            <p:nvPr/>
          </p:nvSpPr>
          <p:spPr>
            <a:xfrm>
              <a:off x="9461596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38100" cap="rnd"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45" name="Oval 17">
              <a:extLst>
                <a:ext uri="{FF2B5EF4-FFF2-40B4-BE49-F238E27FC236}">
                  <a16:creationId xmlns:a16="http://schemas.microsoft.com/office/drawing/2014/main" id="{44C7CF9D-0433-4A2D-A21A-048F7EE5637C}"/>
                </a:ext>
              </a:extLst>
            </p:cNvPr>
            <p:cNvSpPr/>
            <p:nvPr/>
          </p:nvSpPr>
          <p:spPr>
            <a:xfrm flipH="1">
              <a:off x="10173655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63500" cap="rnd">
              <a:gradFill>
                <a:gsLst>
                  <a:gs pos="200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47" name="Rectangle 46">
            <a:extLst>
              <a:ext uri="{FF2B5EF4-FFF2-40B4-BE49-F238E27FC236}">
                <a16:creationId xmlns:a16="http://schemas.microsoft.com/office/drawing/2014/main" id="{5E7BE9C5-8BB5-4499-BAC8-84ACBF1FBF8B}"/>
              </a:ext>
            </a:extLst>
          </p:cNvPr>
          <p:cNvSpPr/>
          <p:nvPr/>
        </p:nvSpPr>
        <p:spPr>
          <a:xfrm rot="19813210">
            <a:off x="7747490" y="5684358"/>
            <a:ext cx="804892" cy="714125"/>
          </a:xfrm>
          <a:prstGeom prst="rect">
            <a:avLst/>
          </a:prstGeom>
          <a:gradFill flip="none" rotWithShape="1">
            <a:gsLst>
              <a:gs pos="32000">
                <a:schemeClr val="tx1">
                  <a:alpha val="16000"/>
                </a:schemeClr>
              </a:gs>
              <a:gs pos="86000">
                <a:schemeClr val="bg1">
                  <a:lumMod val="9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48" name="Oval 36">
            <a:extLst>
              <a:ext uri="{FF2B5EF4-FFF2-40B4-BE49-F238E27FC236}">
                <a16:creationId xmlns:a16="http://schemas.microsoft.com/office/drawing/2014/main" id="{077169A1-10F1-499B-B86D-5684CC29EEFF}"/>
              </a:ext>
            </a:extLst>
          </p:cNvPr>
          <p:cNvSpPr/>
          <p:nvPr/>
        </p:nvSpPr>
        <p:spPr>
          <a:xfrm>
            <a:off x="7762517" y="5487458"/>
            <a:ext cx="681456" cy="681456"/>
          </a:xfrm>
          <a:prstGeom prst="ellipse">
            <a:avLst/>
          </a:prstGeom>
          <a:gradFill>
            <a:gsLst>
              <a:gs pos="28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49" name="Group 37">
            <a:extLst>
              <a:ext uri="{FF2B5EF4-FFF2-40B4-BE49-F238E27FC236}">
                <a16:creationId xmlns:a16="http://schemas.microsoft.com/office/drawing/2014/main" id="{AD786A0E-05A4-4946-8A75-F10EECF9B81B}"/>
              </a:ext>
            </a:extLst>
          </p:cNvPr>
          <p:cNvGrpSpPr/>
          <p:nvPr/>
        </p:nvGrpSpPr>
        <p:grpSpPr>
          <a:xfrm flipH="1">
            <a:off x="7506057" y="5221437"/>
            <a:ext cx="1020345" cy="1029904"/>
            <a:chOff x="9461596" y="1229846"/>
            <a:chExt cx="1424118" cy="1424116"/>
          </a:xfrm>
        </p:grpSpPr>
        <p:sp>
          <p:nvSpPr>
            <p:cNvPr id="50" name="Oval 17">
              <a:extLst>
                <a:ext uri="{FF2B5EF4-FFF2-40B4-BE49-F238E27FC236}">
                  <a16:creationId xmlns:a16="http://schemas.microsoft.com/office/drawing/2014/main" id="{E26A589E-3944-4BE7-A2FE-2ACB3D16B2C2}"/>
                </a:ext>
              </a:extLst>
            </p:cNvPr>
            <p:cNvSpPr/>
            <p:nvPr/>
          </p:nvSpPr>
          <p:spPr>
            <a:xfrm>
              <a:off x="9461596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38100" cap="rnd">
              <a:gradFill>
                <a:gsLst>
                  <a:gs pos="0">
                    <a:schemeClr val="accent4"/>
                  </a:gs>
                  <a:gs pos="100000">
                    <a:schemeClr val="accent3"/>
                  </a:gs>
                </a:gsLst>
                <a:lin ang="5400000" scaled="1"/>
              </a:gra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51" name="Oval 17">
              <a:extLst>
                <a:ext uri="{FF2B5EF4-FFF2-40B4-BE49-F238E27FC236}">
                  <a16:creationId xmlns:a16="http://schemas.microsoft.com/office/drawing/2014/main" id="{882B720A-1408-4BCA-BC9E-FF7337D89C64}"/>
                </a:ext>
              </a:extLst>
            </p:cNvPr>
            <p:cNvSpPr/>
            <p:nvPr/>
          </p:nvSpPr>
          <p:spPr>
            <a:xfrm flipH="1">
              <a:off x="10173655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63500" cap="rnd">
              <a:gradFill>
                <a:gsLst>
                  <a:gs pos="2000">
                    <a:schemeClr val="accent4"/>
                  </a:gs>
                  <a:gs pos="100000">
                    <a:schemeClr val="accent3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sp>
        <p:nvSpPr>
          <p:cNvPr id="52" name="Rectangle 51">
            <a:extLst>
              <a:ext uri="{FF2B5EF4-FFF2-40B4-BE49-F238E27FC236}">
                <a16:creationId xmlns:a16="http://schemas.microsoft.com/office/drawing/2014/main" id="{8FB7CAA7-B0D9-4096-B370-F0F83E75C2B2}"/>
              </a:ext>
            </a:extLst>
          </p:cNvPr>
          <p:cNvSpPr/>
          <p:nvPr/>
        </p:nvSpPr>
        <p:spPr>
          <a:xfrm rot="19813210">
            <a:off x="3853087" y="5769162"/>
            <a:ext cx="667604" cy="586821"/>
          </a:xfrm>
          <a:prstGeom prst="rect">
            <a:avLst/>
          </a:prstGeom>
          <a:gradFill flip="none" rotWithShape="1">
            <a:gsLst>
              <a:gs pos="32000">
                <a:schemeClr val="tx1">
                  <a:alpha val="16000"/>
                </a:schemeClr>
              </a:gs>
              <a:gs pos="86000">
                <a:schemeClr val="bg1">
                  <a:lumMod val="95000"/>
                  <a:alpha val="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53" name="Oval 42">
            <a:extLst>
              <a:ext uri="{FF2B5EF4-FFF2-40B4-BE49-F238E27FC236}">
                <a16:creationId xmlns:a16="http://schemas.microsoft.com/office/drawing/2014/main" id="{C1301977-973A-40C8-BB78-3116F2E81648}"/>
              </a:ext>
            </a:extLst>
          </p:cNvPr>
          <p:cNvSpPr/>
          <p:nvPr/>
        </p:nvSpPr>
        <p:spPr>
          <a:xfrm>
            <a:off x="3511107" y="5380617"/>
            <a:ext cx="878628" cy="788299"/>
          </a:xfrm>
          <a:prstGeom prst="ellipse">
            <a:avLst/>
          </a:prstGeom>
          <a:gradFill>
            <a:gsLst>
              <a:gs pos="2800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grpSp>
        <p:nvGrpSpPr>
          <p:cNvPr id="54" name="Group 43">
            <a:extLst>
              <a:ext uri="{FF2B5EF4-FFF2-40B4-BE49-F238E27FC236}">
                <a16:creationId xmlns:a16="http://schemas.microsoft.com/office/drawing/2014/main" id="{E8CC1706-DAD9-4700-AFF5-CB480FEC8E35}"/>
              </a:ext>
            </a:extLst>
          </p:cNvPr>
          <p:cNvGrpSpPr/>
          <p:nvPr/>
        </p:nvGrpSpPr>
        <p:grpSpPr>
          <a:xfrm flipH="1">
            <a:off x="3380981" y="5272345"/>
            <a:ext cx="1091179" cy="978996"/>
            <a:chOff x="9461596" y="1229846"/>
            <a:chExt cx="1424118" cy="1424116"/>
          </a:xfrm>
        </p:grpSpPr>
        <p:sp>
          <p:nvSpPr>
            <p:cNvPr id="55" name="Oval 17">
              <a:extLst>
                <a:ext uri="{FF2B5EF4-FFF2-40B4-BE49-F238E27FC236}">
                  <a16:creationId xmlns:a16="http://schemas.microsoft.com/office/drawing/2014/main" id="{C9F87B23-12D2-4782-8DF8-BCA75F15D882}"/>
                </a:ext>
              </a:extLst>
            </p:cNvPr>
            <p:cNvSpPr/>
            <p:nvPr/>
          </p:nvSpPr>
          <p:spPr>
            <a:xfrm>
              <a:off x="9461596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38100" cap="rnd">
              <a:gradFill>
                <a:gsLst>
                  <a:gs pos="3000">
                    <a:schemeClr val="accent3"/>
                  </a:gs>
                  <a:gs pos="100000">
                    <a:schemeClr val="accent3"/>
                  </a:gs>
                </a:gsLst>
                <a:lin ang="5400000" scaled="1"/>
              </a:gra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56" name="Oval 17">
              <a:extLst>
                <a:ext uri="{FF2B5EF4-FFF2-40B4-BE49-F238E27FC236}">
                  <a16:creationId xmlns:a16="http://schemas.microsoft.com/office/drawing/2014/main" id="{3E44E3E0-9087-487F-BC5B-842864A87D7D}"/>
                </a:ext>
              </a:extLst>
            </p:cNvPr>
            <p:cNvSpPr/>
            <p:nvPr/>
          </p:nvSpPr>
          <p:spPr>
            <a:xfrm flipH="1">
              <a:off x="10173655" y="1229846"/>
              <a:ext cx="712059" cy="1424116"/>
            </a:xfrm>
            <a:custGeom>
              <a:avLst/>
              <a:gdLst>
                <a:gd name="connsiteX0" fmla="*/ 0 w 1424118"/>
                <a:gd name="connsiteY0" fmla="*/ 712058 h 1424116"/>
                <a:gd name="connsiteX1" fmla="*/ 712059 w 1424118"/>
                <a:gd name="connsiteY1" fmla="*/ 0 h 1424116"/>
                <a:gd name="connsiteX2" fmla="*/ 1424118 w 1424118"/>
                <a:gd name="connsiteY2" fmla="*/ 712058 h 1424116"/>
                <a:gd name="connsiteX3" fmla="*/ 712059 w 1424118"/>
                <a:gd name="connsiteY3" fmla="*/ 1424116 h 1424116"/>
                <a:gd name="connsiteX4" fmla="*/ 0 w 1424118"/>
                <a:gd name="connsiteY4" fmla="*/ 712058 h 1424116"/>
                <a:gd name="connsiteX0" fmla="*/ 1424118 w 1515558"/>
                <a:gd name="connsiteY0" fmla="*/ 712058 h 1424116"/>
                <a:gd name="connsiteX1" fmla="*/ 712059 w 1515558"/>
                <a:gd name="connsiteY1" fmla="*/ 1424116 h 1424116"/>
                <a:gd name="connsiteX2" fmla="*/ 0 w 1515558"/>
                <a:gd name="connsiteY2" fmla="*/ 712058 h 1424116"/>
                <a:gd name="connsiteX3" fmla="*/ 712059 w 1515558"/>
                <a:gd name="connsiteY3" fmla="*/ 0 h 1424116"/>
                <a:gd name="connsiteX4" fmla="*/ 1515558 w 1515558"/>
                <a:gd name="connsiteY4" fmla="*/ 803498 h 1424116"/>
                <a:gd name="connsiteX0" fmla="*/ 1424118 w 1424118"/>
                <a:gd name="connsiteY0" fmla="*/ 712058 h 1424116"/>
                <a:gd name="connsiteX1" fmla="*/ 712059 w 1424118"/>
                <a:gd name="connsiteY1" fmla="*/ 1424116 h 1424116"/>
                <a:gd name="connsiteX2" fmla="*/ 0 w 1424118"/>
                <a:gd name="connsiteY2" fmla="*/ 712058 h 1424116"/>
                <a:gd name="connsiteX3" fmla="*/ 712059 w 1424118"/>
                <a:gd name="connsiteY3" fmla="*/ 0 h 1424116"/>
                <a:gd name="connsiteX0" fmla="*/ 712059 w 712059"/>
                <a:gd name="connsiteY0" fmla="*/ 1424116 h 1424116"/>
                <a:gd name="connsiteX1" fmla="*/ 0 w 712059"/>
                <a:gd name="connsiteY1" fmla="*/ 712058 h 1424116"/>
                <a:gd name="connsiteX2" fmla="*/ 712059 w 712059"/>
                <a:gd name="connsiteY2" fmla="*/ 0 h 14241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2059" h="1424116">
                  <a:moveTo>
                    <a:pt x="712059" y="1424116"/>
                  </a:moveTo>
                  <a:cubicBezTo>
                    <a:pt x="318800" y="1424116"/>
                    <a:pt x="0" y="1105317"/>
                    <a:pt x="0" y="712058"/>
                  </a:cubicBezTo>
                  <a:cubicBezTo>
                    <a:pt x="0" y="318799"/>
                    <a:pt x="318800" y="0"/>
                    <a:pt x="712059" y="0"/>
                  </a:cubicBezTo>
                </a:path>
              </a:pathLst>
            </a:custGeom>
            <a:noFill/>
            <a:ln w="63500" cap="rnd">
              <a:gradFill>
                <a:gsLst>
                  <a:gs pos="0">
                    <a:schemeClr val="accent3"/>
                  </a:gs>
                  <a:gs pos="100000">
                    <a:schemeClr val="accent3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57" name="Group 75">
            <a:extLst>
              <a:ext uri="{FF2B5EF4-FFF2-40B4-BE49-F238E27FC236}">
                <a16:creationId xmlns:a16="http://schemas.microsoft.com/office/drawing/2014/main" id="{D6F344EA-5706-465E-99DE-0F6DA84FABDE}"/>
              </a:ext>
            </a:extLst>
          </p:cNvPr>
          <p:cNvGrpSpPr/>
          <p:nvPr/>
        </p:nvGrpSpPr>
        <p:grpSpPr>
          <a:xfrm>
            <a:off x="4943979" y="3638459"/>
            <a:ext cx="2304151" cy="2190552"/>
            <a:chOff x="118046" y="2107439"/>
            <a:chExt cx="3537330" cy="3543856"/>
          </a:xfrm>
        </p:grpSpPr>
        <p:sp>
          <p:nvSpPr>
            <p:cNvPr id="58" name="Freeform: Shape 76">
              <a:extLst>
                <a:ext uri="{FF2B5EF4-FFF2-40B4-BE49-F238E27FC236}">
                  <a16:creationId xmlns:a16="http://schemas.microsoft.com/office/drawing/2014/main" id="{29AA1C0A-2F8D-4222-A07E-4D4FA332658F}"/>
                </a:ext>
              </a:extLst>
            </p:cNvPr>
            <p:cNvSpPr/>
            <p:nvPr/>
          </p:nvSpPr>
          <p:spPr>
            <a:xfrm>
              <a:off x="118046" y="2107439"/>
              <a:ext cx="1774169" cy="3543856"/>
            </a:xfrm>
            <a:custGeom>
              <a:avLst/>
              <a:gdLst>
                <a:gd name="connsiteX0" fmla="*/ 1771928 w 1774169"/>
                <a:gd name="connsiteY0" fmla="*/ 0 h 3543856"/>
                <a:gd name="connsiteX1" fmla="*/ 1774169 w 1774169"/>
                <a:gd name="connsiteY1" fmla="*/ 113 h 3543856"/>
                <a:gd name="connsiteX2" fmla="*/ 1774169 w 1774169"/>
                <a:gd name="connsiteY2" fmla="*/ 143533 h 3543856"/>
                <a:gd name="connsiteX3" fmla="*/ 1771928 w 1774169"/>
                <a:gd name="connsiteY3" fmla="*/ 143420 h 3543856"/>
                <a:gd name="connsiteX4" fmla="*/ 143420 w 1774169"/>
                <a:gd name="connsiteY4" fmla="*/ 1771928 h 3543856"/>
                <a:gd name="connsiteX5" fmla="*/ 1771928 w 1774169"/>
                <a:gd name="connsiteY5" fmla="*/ 3400436 h 3543856"/>
                <a:gd name="connsiteX6" fmla="*/ 1774169 w 1774169"/>
                <a:gd name="connsiteY6" fmla="*/ 3400323 h 3543856"/>
                <a:gd name="connsiteX7" fmla="*/ 1774169 w 1774169"/>
                <a:gd name="connsiteY7" fmla="*/ 3543743 h 3543856"/>
                <a:gd name="connsiteX8" fmla="*/ 1771928 w 1774169"/>
                <a:gd name="connsiteY8" fmla="*/ 3543856 h 3543856"/>
                <a:gd name="connsiteX9" fmla="*/ 0 w 1774169"/>
                <a:gd name="connsiteY9" fmla="*/ 1771928 h 3543856"/>
                <a:gd name="connsiteX10" fmla="*/ 1771928 w 1774169"/>
                <a:gd name="connsiteY10" fmla="*/ 0 h 3543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4169" h="3543856">
                  <a:moveTo>
                    <a:pt x="1771928" y="0"/>
                  </a:moveTo>
                  <a:lnTo>
                    <a:pt x="1774169" y="113"/>
                  </a:lnTo>
                  <a:lnTo>
                    <a:pt x="1774169" y="143533"/>
                  </a:lnTo>
                  <a:lnTo>
                    <a:pt x="1771928" y="143420"/>
                  </a:lnTo>
                  <a:cubicBezTo>
                    <a:pt x="872528" y="143420"/>
                    <a:pt x="143420" y="872528"/>
                    <a:pt x="143420" y="1771928"/>
                  </a:cubicBezTo>
                  <a:cubicBezTo>
                    <a:pt x="143420" y="2671328"/>
                    <a:pt x="872528" y="3400436"/>
                    <a:pt x="1771928" y="3400436"/>
                  </a:cubicBezTo>
                  <a:lnTo>
                    <a:pt x="1774169" y="3400323"/>
                  </a:lnTo>
                  <a:lnTo>
                    <a:pt x="1774169" y="3543743"/>
                  </a:lnTo>
                  <a:lnTo>
                    <a:pt x="1771928" y="3543856"/>
                  </a:lnTo>
                  <a:cubicBezTo>
                    <a:pt x="793319" y="3543856"/>
                    <a:pt x="0" y="2750537"/>
                    <a:pt x="0" y="1771928"/>
                  </a:cubicBezTo>
                  <a:cubicBezTo>
                    <a:pt x="0" y="793319"/>
                    <a:pt x="793319" y="0"/>
                    <a:pt x="1771928" y="0"/>
                  </a:cubicBezTo>
                  <a:close/>
                </a:path>
              </a:pathLst>
            </a:custGeom>
            <a:gradFill flip="none" rotWithShape="1">
              <a:gsLst>
                <a:gs pos="2721">
                  <a:schemeClr val="accent6"/>
                </a:gs>
                <a:gs pos="25000">
                  <a:schemeClr val="accent1"/>
                </a:gs>
                <a:gs pos="88426">
                  <a:schemeClr val="accent3"/>
                </a:gs>
                <a:gs pos="49000">
                  <a:schemeClr val="accent2"/>
                </a:gs>
                <a:gs pos="100000">
                  <a:schemeClr val="accent4"/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59" name="Freeform: Shape 77">
              <a:extLst>
                <a:ext uri="{FF2B5EF4-FFF2-40B4-BE49-F238E27FC236}">
                  <a16:creationId xmlns:a16="http://schemas.microsoft.com/office/drawing/2014/main" id="{4E8E0654-D66D-4007-8C02-E3C46B10D6A9}"/>
                </a:ext>
              </a:extLst>
            </p:cNvPr>
            <p:cNvSpPr/>
            <p:nvPr/>
          </p:nvSpPr>
          <p:spPr>
            <a:xfrm flipH="1">
              <a:off x="1881207" y="2107439"/>
              <a:ext cx="1774169" cy="3543856"/>
            </a:xfrm>
            <a:custGeom>
              <a:avLst/>
              <a:gdLst>
                <a:gd name="connsiteX0" fmla="*/ 1771928 w 1774169"/>
                <a:gd name="connsiteY0" fmla="*/ 0 h 3543856"/>
                <a:gd name="connsiteX1" fmla="*/ 1774169 w 1774169"/>
                <a:gd name="connsiteY1" fmla="*/ 113 h 3543856"/>
                <a:gd name="connsiteX2" fmla="*/ 1774169 w 1774169"/>
                <a:gd name="connsiteY2" fmla="*/ 143533 h 3543856"/>
                <a:gd name="connsiteX3" fmla="*/ 1771928 w 1774169"/>
                <a:gd name="connsiteY3" fmla="*/ 143420 h 3543856"/>
                <a:gd name="connsiteX4" fmla="*/ 143420 w 1774169"/>
                <a:gd name="connsiteY4" fmla="*/ 1771928 h 3543856"/>
                <a:gd name="connsiteX5" fmla="*/ 1771928 w 1774169"/>
                <a:gd name="connsiteY5" fmla="*/ 3400436 h 3543856"/>
                <a:gd name="connsiteX6" fmla="*/ 1774169 w 1774169"/>
                <a:gd name="connsiteY6" fmla="*/ 3400323 h 3543856"/>
                <a:gd name="connsiteX7" fmla="*/ 1774169 w 1774169"/>
                <a:gd name="connsiteY7" fmla="*/ 3543743 h 3543856"/>
                <a:gd name="connsiteX8" fmla="*/ 1771928 w 1774169"/>
                <a:gd name="connsiteY8" fmla="*/ 3543856 h 3543856"/>
                <a:gd name="connsiteX9" fmla="*/ 0 w 1774169"/>
                <a:gd name="connsiteY9" fmla="*/ 1771928 h 3543856"/>
                <a:gd name="connsiteX10" fmla="*/ 1771928 w 1774169"/>
                <a:gd name="connsiteY10" fmla="*/ 0 h 3543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4169" h="3543856">
                  <a:moveTo>
                    <a:pt x="1771928" y="0"/>
                  </a:moveTo>
                  <a:lnTo>
                    <a:pt x="1774169" y="113"/>
                  </a:lnTo>
                  <a:lnTo>
                    <a:pt x="1774169" y="143533"/>
                  </a:lnTo>
                  <a:lnTo>
                    <a:pt x="1771928" y="143420"/>
                  </a:lnTo>
                  <a:cubicBezTo>
                    <a:pt x="872528" y="143420"/>
                    <a:pt x="143420" y="872528"/>
                    <a:pt x="143420" y="1771928"/>
                  </a:cubicBezTo>
                  <a:cubicBezTo>
                    <a:pt x="143420" y="2671328"/>
                    <a:pt x="872528" y="3400436"/>
                    <a:pt x="1771928" y="3400436"/>
                  </a:cubicBezTo>
                  <a:lnTo>
                    <a:pt x="1774169" y="3400323"/>
                  </a:lnTo>
                  <a:lnTo>
                    <a:pt x="1774169" y="3543743"/>
                  </a:lnTo>
                  <a:lnTo>
                    <a:pt x="1771928" y="3543856"/>
                  </a:lnTo>
                  <a:cubicBezTo>
                    <a:pt x="793319" y="3543856"/>
                    <a:pt x="0" y="2750537"/>
                    <a:pt x="0" y="1771928"/>
                  </a:cubicBezTo>
                  <a:cubicBezTo>
                    <a:pt x="0" y="793319"/>
                    <a:pt x="793319" y="0"/>
                    <a:pt x="1771928" y="0"/>
                  </a:cubicBezTo>
                  <a:close/>
                </a:path>
              </a:pathLst>
            </a:custGeom>
            <a:gradFill>
              <a:gsLst>
                <a:gs pos="2721">
                  <a:schemeClr val="accent6"/>
                </a:gs>
                <a:gs pos="25000">
                  <a:schemeClr val="accent6"/>
                </a:gs>
                <a:gs pos="88426">
                  <a:schemeClr val="accent4"/>
                </a:gs>
                <a:gs pos="49000">
                  <a:schemeClr val="accent5"/>
                </a:gs>
                <a:gs pos="100000">
                  <a:schemeClr val="accent4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IN">
                <a:solidFill>
                  <a:schemeClr val="tx1"/>
                </a:solidFill>
              </a:endParaRPr>
            </a:p>
          </p:txBody>
        </p:sp>
      </p:grpSp>
      <p:sp>
        <p:nvSpPr>
          <p:cNvPr id="60" name="TextBox 80">
            <a:extLst>
              <a:ext uri="{FF2B5EF4-FFF2-40B4-BE49-F238E27FC236}">
                <a16:creationId xmlns:a16="http://schemas.microsoft.com/office/drawing/2014/main" id="{606BD1E8-DC46-42B6-BC21-99EAA157776E}"/>
              </a:ext>
            </a:extLst>
          </p:cNvPr>
          <p:cNvSpPr txBox="1"/>
          <p:nvPr/>
        </p:nvSpPr>
        <p:spPr>
          <a:xfrm>
            <a:off x="8623175" y="3291359"/>
            <a:ext cx="1806799" cy="7386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lvl="0" algn="ctr"/>
            <a:r>
              <a:rPr lang="fr-FR" sz="1600" b="1" dirty="0"/>
              <a:t>Nouveau système d’homologation </a:t>
            </a:r>
          </a:p>
          <a:p>
            <a:pPr lvl="0" algn="ctr"/>
            <a:r>
              <a:rPr lang="fr-FR" sz="1600" b="1" dirty="0"/>
              <a:t>des véhicules </a:t>
            </a:r>
          </a:p>
        </p:txBody>
      </p:sp>
      <p:sp>
        <p:nvSpPr>
          <p:cNvPr id="61" name="TextBox 96">
            <a:extLst>
              <a:ext uri="{FF2B5EF4-FFF2-40B4-BE49-F238E27FC236}">
                <a16:creationId xmlns:a16="http://schemas.microsoft.com/office/drawing/2014/main" id="{3CE3480B-C32C-4832-99D1-3C745977B055}"/>
              </a:ext>
            </a:extLst>
          </p:cNvPr>
          <p:cNvSpPr txBox="1"/>
          <p:nvPr/>
        </p:nvSpPr>
        <p:spPr>
          <a:xfrm>
            <a:off x="1032606" y="3034851"/>
            <a:ext cx="2281821" cy="738664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fr-FR" altLang="zh-CN" sz="1600" b="1" dirty="0"/>
              <a:t>Portail des </a:t>
            </a:r>
            <a:r>
              <a:rPr lang="fr-FR" altLang="zh-CN" sz="1600" b="1" dirty="0" smtClean="0"/>
              <a:t>auto-écoles</a:t>
            </a:r>
          </a:p>
          <a:p>
            <a:pPr algn="ctr"/>
            <a:endParaRPr lang="fr-FR" altLang="zh-CN" sz="1600" b="1" dirty="0"/>
          </a:p>
          <a:p>
            <a:pPr algn="ctr"/>
            <a:r>
              <a:rPr lang="fr-FR" altLang="zh-CN" sz="1600" b="1" dirty="0" smtClean="0"/>
              <a:t>Plateforme E-Learning</a:t>
            </a:r>
            <a:endParaRPr lang="zh-CN" altLang="en-US" sz="1600" b="1" dirty="0"/>
          </a:p>
        </p:txBody>
      </p:sp>
      <p:grpSp>
        <p:nvGrpSpPr>
          <p:cNvPr id="62" name="Group 97">
            <a:extLst>
              <a:ext uri="{FF2B5EF4-FFF2-40B4-BE49-F238E27FC236}">
                <a16:creationId xmlns:a16="http://schemas.microsoft.com/office/drawing/2014/main" id="{B483AC0C-B541-4463-BE28-2CB9BC66A5C2}"/>
              </a:ext>
            </a:extLst>
          </p:cNvPr>
          <p:cNvGrpSpPr/>
          <p:nvPr/>
        </p:nvGrpSpPr>
        <p:grpSpPr>
          <a:xfrm>
            <a:off x="1147166" y="5532976"/>
            <a:ext cx="2099487" cy="879381"/>
            <a:chOff x="8817099" y="1466695"/>
            <a:chExt cx="2918781" cy="1172204"/>
          </a:xfrm>
        </p:grpSpPr>
        <p:sp>
          <p:nvSpPr>
            <p:cNvPr id="63" name="TextBox 98">
              <a:extLst>
                <a:ext uri="{FF2B5EF4-FFF2-40B4-BE49-F238E27FC236}">
                  <a16:creationId xmlns:a16="http://schemas.microsoft.com/office/drawing/2014/main" id="{177E7FFC-BA01-40CB-8C2D-9D72DE36E754}"/>
                </a:ext>
              </a:extLst>
            </p:cNvPr>
            <p:cNvSpPr txBox="1"/>
            <p:nvPr/>
          </p:nvSpPr>
          <p:spPr>
            <a:xfrm>
              <a:off x="9107340" y="2423340"/>
              <a:ext cx="2114487" cy="2155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/>
              <a:r>
                <a:rPr lang="en-US" sz="105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Calibri Light" charset="0"/>
                  <a:cs typeface="Calibri Light" charset="0"/>
                </a:rPr>
                <a:t>.</a:t>
              </a:r>
              <a:endParaRPr lang="en-US" sz="1051" dirty="0">
                <a:solidFill>
                  <a:schemeClr val="tx1">
                    <a:lumMod val="75000"/>
                    <a:lumOff val="25000"/>
                  </a:schemeClr>
                </a:solidFill>
                <a:ea typeface="Calibri Light" charset="0"/>
                <a:cs typeface="Calibri Light" charset="0"/>
              </a:endParaRPr>
            </a:p>
          </p:txBody>
        </p:sp>
        <p:sp>
          <p:nvSpPr>
            <p:cNvPr id="64" name="TextBox 99">
              <a:extLst>
                <a:ext uri="{FF2B5EF4-FFF2-40B4-BE49-F238E27FC236}">
                  <a16:creationId xmlns:a16="http://schemas.microsoft.com/office/drawing/2014/main" id="{235F8E26-C940-45E1-B415-4AC0F96256EC}"/>
                </a:ext>
              </a:extLst>
            </p:cNvPr>
            <p:cNvSpPr txBox="1"/>
            <p:nvPr/>
          </p:nvSpPr>
          <p:spPr>
            <a:xfrm>
              <a:off x="8817099" y="1466695"/>
              <a:ext cx="2918781" cy="656421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algn="ctr"/>
              <a:r>
                <a:rPr lang="fr-FR" sz="1600" b="1" dirty="0"/>
                <a:t>Dématérialisation de la visite médicale</a:t>
              </a:r>
            </a:p>
          </p:txBody>
        </p:sp>
      </p:grpSp>
      <p:sp>
        <p:nvSpPr>
          <p:cNvPr id="65" name="Freeform 5">
            <a:extLst>
              <a:ext uri="{FF2B5EF4-FFF2-40B4-BE49-F238E27FC236}">
                <a16:creationId xmlns:a16="http://schemas.microsoft.com/office/drawing/2014/main" id="{97490E15-22E2-416E-95BD-AFA34539381B}"/>
              </a:ext>
            </a:extLst>
          </p:cNvPr>
          <p:cNvSpPr>
            <a:spLocks noEditPoints="1"/>
          </p:cNvSpPr>
          <p:nvPr/>
        </p:nvSpPr>
        <p:spPr bwMode="auto">
          <a:xfrm>
            <a:off x="3976144" y="5697833"/>
            <a:ext cx="145729" cy="260707"/>
          </a:xfrm>
          <a:custGeom>
            <a:avLst/>
            <a:gdLst>
              <a:gd name="T0" fmla="*/ 152 w 176"/>
              <a:gd name="T1" fmla="*/ 0 h 312"/>
              <a:gd name="T2" fmla="*/ 24 w 176"/>
              <a:gd name="T3" fmla="*/ 0 h 312"/>
              <a:gd name="T4" fmla="*/ 0 w 176"/>
              <a:gd name="T5" fmla="*/ 24 h 312"/>
              <a:gd name="T6" fmla="*/ 0 w 176"/>
              <a:gd name="T7" fmla="*/ 288 h 312"/>
              <a:gd name="T8" fmla="*/ 24 w 176"/>
              <a:gd name="T9" fmla="*/ 312 h 312"/>
              <a:gd name="T10" fmla="*/ 152 w 176"/>
              <a:gd name="T11" fmla="*/ 312 h 312"/>
              <a:gd name="T12" fmla="*/ 176 w 176"/>
              <a:gd name="T13" fmla="*/ 288 h 312"/>
              <a:gd name="T14" fmla="*/ 176 w 176"/>
              <a:gd name="T15" fmla="*/ 24 h 312"/>
              <a:gd name="T16" fmla="*/ 152 w 176"/>
              <a:gd name="T17" fmla="*/ 0 h 312"/>
              <a:gd name="T18" fmla="*/ 160 w 176"/>
              <a:gd name="T19" fmla="*/ 288 h 312"/>
              <a:gd name="T20" fmla="*/ 152 w 176"/>
              <a:gd name="T21" fmla="*/ 296 h 312"/>
              <a:gd name="T22" fmla="*/ 24 w 176"/>
              <a:gd name="T23" fmla="*/ 296 h 312"/>
              <a:gd name="T24" fmla="*/ 16 w 176"/>
              <a:gd name="T25" fmla="*/ 288 h 312"/>
              <a:gd name="T26" fmla="*/ 16 w 176"/>
              <a:gd name="T27" fmla="*/ 272 h 312"/>
              <a:gd name="T28" fmla="*/ 160 w 176"/>
              <a:gd name="T29" fmla="*/ 272 h 312"/>
              <a:gd name="T30" fmla="*/ 160 w 176"/>
              <a:gd name="T31" fmla="*/ 288 h 312"/>
              <a:gd name="T32" fmla="*/ 160 w 176"/>
              <a:gd name="T33" fmla="*/ 256 h 312"/>
              <a:gd name="T34" fmla="*/ 16 w 176"/>
              <a:gd name="T35" fmla="*/ 256 h 312"/>
              <a:gd name="T36" fmla="*/ 16 w 176"/>
              <a:gd name="T37" fmla="*/ 56 h 312"/>
              <a:gd name="T38" fmla="*/ 160 w 176"/>
              <a:gd name="T39" fmla="*/ 56 h 312"/>
              <a:gd name="T40" fmla="*/ 160 w 176"/>
              <a:gd name="T41" fmla="*/ 256 h 312"/>
              <a:gd name="T42" fmla="*/ 160 w 176"/>
              <a:gd name="T43" fmla="*/ 40 h 312"/>
              <a:gd name="T44" fmla="*/ 16 w 176"/>
              <a:gd name="T45" fmla="*/ 40 h 312"/>
              <a:gd name="T46" fmla="*/ 16 w 176"/>
              <a:gd name="T47" fmla="*/ 24 h 312"/>
              <a:gd name="T48" fmla="*/ 24 w 176"/>
              <a:gd name="T49" fmla="*/ 16 h 312"/>
              <a:gd name="T50" fmla="*/ 152 w 176"/>
              <a:gd name="T51" fmla="*/ 16 h 312"/>
              <a:gd name="T52" fmla="*/ 160 w 176"/>
              <a:gd name="T53" fmla="*/ 24 h 312"/>
              <a:gd name="T54" fmla="*/ 160 w 176"/>
              <a:gd name="T55" fmla="*/ 40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76" h="312">
                <a:moveTo>
                  <a:pt x="152" y="0"/>
                </a:moveTo>
                <a:cubicBezTo>
                  <a:pt x="24" y="0"/>
                  <a:pt x="24" y="0"/>
                  <a:pt x="24" y="0"/>
                </a:cubicBezTo>
                <a:cubicBezTo>
                  <a:pt x="11" y="0"/>
                  <a:pt x="0" y="11"/>
                  <a:pt x="0" y="24"/>
                </a:cubicBezTo>
                <a:cubicBezTo>
                  <a:pt x="0" y="288"/>
                  <a:pt x="0" y="288"/>
                  <a:pt x="0" y="288"/>
                </a:cubicBezTo>
                <a:cubicBezTo>
                  <a:pt x="0" y="301"/>
                  <a:pt x="11" y="312"/>
                  <a:pt x="24" y="312"/>
                </a:cubicBezTo>
                <a:cubicBezTo>
                  <a:pt x="152" y="312"/>
                  <a:pt x="152" y="312"/>
                  <a:pt x="152" y="312"/>
                </a:cubicBezTo>
                <a:cubicBezTo>
                  <a:pt x="165" y="312"/>
                  <a:pt x="176" y="301"/>
                  <a:pt x="176" y="288"/>
                </a:cubicBezTo>
                <a:cubicBezTo>
                  <a:pt x="176" y="24"/>
                  <a:pt x="176" y="24"/>
                  <a:pt x="176" y="24"/>
                </a:cubicBezTo>
                <a:cubicBezTo>
                  <a:pt x="176" y="11"/>
                  <a:pt x="165" y="0"/>
                  <a:pt x="152" y="0"/>
                </a:cubicBezTo>
                <a:close/>
                <a:moveTo>
                  <a:pt x="160" y="288"/>
                </a:moveTo>
                <a:cubicBezTo>
                  <a:pt x="160" y="292"/>
                  <a:pt x="156" y="296"/>
                  <a:pt x="152" y="296"/>
                </a:cubicBezTo>
                <a:cubicBezTo>
                  <a:pt x="24" y="296"/>
                  <a:pt x="24" y="296"/>
                  <a:pt x="24" y="296"/>
                </a:cubicBezTo>
                <a:cubicBezTo>
                  <a:pt x="20" y="296"/>
                  <a:pt x="16" y="292"/>
                  <a:pt x="16" y="288"/>
                </a:cubicBezTo>
                <a:cubicBezTo>
                  <a:pt x="16" y="272"/>
                  <a:pt x="16" y="272"/>
                  <a:pt x="16" y="272"/>
                </a:cubicBezTo>
                <a:cubicBezTo>
                  <a:pt x="160" y="272"/>
                  <a:pt x="160" y="272"/>
                  <a:pt x="160" y="272"/>
                </a:cubicBezTo>
                <a:lnTo>
                  <a:pt x="160" y="288"/>
                </a:lnTo>
                <a:close/>
                <a:moveTo>
                  <a:pt x="160" y="256"/>
                </a:moveTo>
                <a:cubicBezTo>
                  <a:pt x="16" y="256"/>
                  <a:pt x="16" y="256"/>
                  <a:pt x="16" y="256"/>
                </a:cubicBezTo>
                <a:cubicBezTo>
                  <a:pt x="16" y="56"/>
                  <a:pt x="16" y="56"/>
                  <a:pt x="16" y="56"/>
                </a:cubicBezTo>
                <a:cubicBezTo>
                  <a:pt x="160" y="56"/>
                  <a:pt x="160" y="56"/>
                  <a:pt x="160" y="56"/>
                </a:cubicBezTo>
                <a:lnTo>
                  <a:pt x="160" y="256"/>
                </a:lnTo>
                <a:close/>
                <a:moveTo>
                  <a:pt x="160" y="40"/>
                </a:moveTo>
                <a:cubicBezTo>
                  <a:pt x="16" y="40"/>
                  <a:pt x="16" y="40"/>
                  <a:pt x="16" y="40"/>
                </a:cubicBezTo>
                <a:cubicBezTo>
                  <a:pt x="16" y="24"/>
                  <a:pt x="16" y="24"/>
                  <a:pt x="16" y="24"/>
                </a:cubicBezTo>
                <a:cubicBezTo>
                  <a:pt x="16" y="20"/>
                  <a:pt x="20" y="16"/>
                  <a:pt x="24" y="16"/>
                </a:cubicBezTo>
                <a:cubicBezTo>
                  <a:pt x="152" y="16"/>
                  <a:pt x="152" y="16"/>
                  <a:pt x="152" y="16"/>
                </a:cubicBezTo>
                <a:cubicBezTo>
                  <a:pt x="156" y="16"/>
                  <a:pt x="160" y="20"/>
                  <a:pt x="160" y="24"/>
                </a:cubicBezTo>
                <a:lnTo>
                  <a:pt x="160" y="40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68599" tIns="34299" rIns="68599" bIns="34299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6" name="Freeform 10">
            <a:extLst>
              <a:ext uri="{FF2B5EF4-FFF2-40B4-BE49-F238E27FC236}">
                <a16:creationId xmlns:a16="http://schemas.microsoft.com/office/drawing/2014/main" id="{16A507D3-040C-4600-8549-E19BDC12CD32}"/>
              </a:ext>
            </a:extLst>
          </p:cNvPr>
          <p:cNvSpPr>
            <a:spLocks noEditPoints="1"/>
          </p:cNvSpPr>
          <p:nvPr/>
        </p:nvSpPr>
        <p:spPr bwMode="auto">
          <a:xfrm>
            <a:off x="7983726" y="3587826"/>
            <a:ext cx="239039" cy="260707"/>
          </a:xfrm>
          <a:custGeom>
            <a:avLst/>
            <a:gdLst>
              <a:gd name="T0" fmla="*/ 181 w 288"/>
              <a:gd name="T1" fmla="*/ 165 h 312"/>
              <a:gd name="T2" fmla="*/ 224 w 288"/>
              <a:gd name="T3" fmla="*/ 88 h 312"/>
              <a:gd name="T4" fmla="*/ 144 w 288"/>
              <a:gd name="T5" fmla="*/ 0 h 312"/>
              <a:gd name="T6" fmla="*/ 64 w 288"/>
              <a:gd name="T7" fmla="*/ 88 h 312"/>
              <a:gd name="T8" fmla="*/ 107 w 288"/>
              <a:gd name="T9" fmla="*/ 165 h 312"/>
              <a:gd name="T10" fmla="*/ 0 w 288"/>
              <a:gd name="T11" fmla="*/ 304 h 312"/>
              <a:gd name="T12" fmla="*/ 8 w 288"/>
              <a:gd name="T13" fmla="*/ 312 h 312"/>
              <a:gd name="T14" fmla="*/ 280 w 288"/>
              <a:gd name="T15" fmla="*/ 312 h 312"/>
              <a:gd name="T16" fmla="*/ 288 w 288"/>
              <a:gd name="T17" fmla="*/ 304 h 312"/>
              <a:gd name="T18" fmla="*/ 181 w 288"/>
              <a:gd name="T19" fmla="*/ 165 h 312"/>
              <a:gd name="T20" fmla="*/ 80 w 288"/>
              <a:gd name="T21" fmla="*/ 88 h 312"/>
              <a:gd name="T22" fmla="*/ 144 w 288"/>
              <a:gd name="T23" fmla="*/ 16 h 312"/>
              <a:gd name="T24" fmla="*/ 208 w 288"/>
              <a:gd name="T25" fmla="*/ 88 h 312"/>
              <a:gd name="T26" fmla="*/ 144 w 288"/>
              <a:gd name="T27" fmla="*/ 160 h 312"/>
              <a:gd name="T28" fmla="*/ 80 w 288"/>
              <a:gd name="T29" fmla="*/ 88 h 312"/>
              <a:gd name="T30" fmla="*/ 16 w 288"/>
              <a:gd name="T31" fmla="*/ 296 h 312"/>
              <a:gd name="T32" fmla="*/ 144 w 288"/>
              <a:gd name="T33" fmla="*/ 176 h 312"/>
              <a:gd name="T34" fmla="*/ 272 w 288"/>
              <a:gd name="T35" fmla="*/ 296 h 312"/>
              <a:gd name="T36" fmla="*/ 16 w 288"/>
              <a:gd name="T37" fmla="*/ 296 h 3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88" h="312">
                <a:moveTo>
                  <a:pt x="181" y="165"/>
                </a:moveTo>
                <a:cubicBezTo>
                  <a:pt x="207" y="149"/>
                  <a:pt x="224" y="117"/>
                  <a:pt x="224" y="88"/>
                </a:cubicBezTo>
                <a:cubicBezTo>
                  <a:pt x="224" y="46"/>
                  <a:pt x="190" y="0"/>
                  <a:pt x="144" y="0"/>
                </a:cubicBezTo>
                <a:cubicBezTo>
                  <a:pt x="98" y="0"/>
                  <a:pt x="64" y="46"/>
                  <a:pt x="64" y="88"/>
                </a:cubicBezTo>
                <a:cubicBezTo>
                  <a:pt x="64" y="117"/>
                  <a:pt x="81" y="149"/>
                  <a:pt x="107" y="165"/>
                </a:cubicBezTo>
                <a:cubicBezTo>
                  <a:pt x="45" y="181"/>
                  <a:pt x="0" y="238"/>
                  <a:pt x="0" y="304"/>
                </a:cubicBezTo>
                <a:cubicBezTo>
                  <a:pt x="0" y="308"/>
                  <a:pt x="4" y="312"/>
                  <a:pt x="8" y="312"/>
                </a:cubicBezTo>
                <a:cubicBezTo>
                  <a:pt x="280" y="312"/>
                  <a:pt x="280" y="312"/>
                  <a:pt x="280" y="312"/>
                </a:cubicBezTo>
                <a:cubicBezTo>
                  <a:pt x="284" y="312"/>
                  <a:pt x="288" y="308"/>
                  <a:pt x="288" y="304"/>
                </a:cubicBezTo>
                <a:cubicBezTo>
                  <a:pt x="288" y="238"/>
                  <a:pt x="243" y="181"/>
                  <a:pt x="181" y="165"/>
                </a:cubicBezTo>
                <a:close/>
                <a:moveTo>
                  <a:pt x="80" y="88"/>
                </a:moveTo>
                <a:cubicBezTo>
                  <a:pt x="80" y="47"/>
                  <a:pt x="114" y="16"/>
                  <a:pt x="144" y="16"/>
                </a:cubicBezTo>
                <a:cubicBezTo>
                  <a:pt x="174" y="16"/>
                  <a:pt x="208" y="47"/>
                  <a:pt x="208" y="88"/>
                </a:cubicBezTo>
                <a:cubicBezTo>
                  <a:pt x="208" y="129"/>
                  <a:pt x="174" y="160"/>
                  <a:pt x="144" y="160"/>
                </a:cubicBezTo>
                <a:cubicBezTo>
                  <a:pt x="114" y="160"/>
                  <a:pt x="80" y="129"/>
                  <a:pt x="80" y="88"/>
                </a:cubicBezTo>
                <a:close/>
                <a:moveTo>
                  <a:pt x="16" y="296"/>
                </a:moveTo>
                <a:cubicBezTo>
                  <a:pt x="20" y="229"/>
                  <a:pt x="76" y="176"/>
                  <a:pt x="144" y="176"/>
                </a:cubicBezTo>
                <a:cubicBezTo>
                  <a:pt x="212" y="176"/>
                  <a:pt x="268" y="229"/>
                  <a:pt x="272" y="296"/>
                </a:cubicBezTo>
                <a:lnTo>
                  <a:pt x="16" y="296"/>
                </a:ln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68599" tIns="34299" rIns="68599" bIns="34299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7" name="Freeform 12">
            <a:extLst>
              <a:ext uri="{FF2B5EF4-FFF2-40B4-BE49-F238E27FC236}">
                <a16:creationId xmlns:a16="http://schemas.microsoft.com/office/drawing/2014/main" id="{A4A0FA0C-E3BF-440A-9B9F-759026BC5AFD}"/>
              </a:ext>
            </a:extLst>
          </p:cNvPr>
          <p:cNvSpPr>
            <a:spLocks noEditPoints="1"/>
          </p:cNvSpPr>
          <p:nvPr/>
        </p:nvSpPr>
        <p:spPr bwMode="auto">
          <a:xfrm>
            <a:off x="8010287" y="5687347"/>
            <a:ext cx="185919" cy="281675"/>
          </a:xfrm>
          <a:custGeom>
            <a:avLst/>
            <a:gdLst>
              <a:gd name="T0" fmla="*/ 112 w 224"/>
              <a:gd name="T1" fmla="*/ 0 h 337"/>
              <a:gd name="T2" fmla="*/ 0 w 224"/>
              <a:gd name="T3" fmla="*/ 111 h 337"/>
              <a:gd name="T4" fmla="*/ 107 w 224"/>
              <a:gd name="T5" fmla="*/ 334 h 337"/>
              <a:gd name="T6" fmla="*/ 117 w 224"/>
              <a:gd name="T7" fmla="*/ 334 h 337"/>
              <a:gd name="T8" fmla="*/ 224 w 224"/>
              <a:gd name="T9" fmla="*/ 111 h 337"/>
              <a:gd name="T10" fmla="*/ 112 w 224"/>
              <a:gd name="T11" fmla="*/ 0 h 337"/>
              <a:gd name="T12" fmla="*/ 112 w 224"/>
              <a:gd name="T13" fmla="*/ 317 h 337"/>
              <a:gd name="T14" fmla="*/ 16 w 224"/>
              <a:gd name="T15" fmla="*/ 111 h 337"/>
              <a:gd name="T16" fmla="*/ 112 w 224"/>
              <a:gd name="T17" fmla="*/ 16 h 337"/>
              <a:gd name="T18" fmla="*/ 208 w 224"/>
              <a:gd name="T19" fmla="*/ 111 h 337"/>
              <a:gd name="T20" fmla="*/ 112 w 224"/>
              <a:gd name="T21" fmla="*/ 317 h 337"/>
              <a:gd name="T22" fmla="*/ 112 w 224"/>
              <a:gd name="T23" fmla="*/ 48 h 337"/>
              <a:gd name="T24" fmla="*/ 48 w 224"/>
              <a:gd name="T25" fmla="*/ 112 h 337"/>
              <a:gd name="T26" fmla="*/ 112 w 224"/>
              <a:gd name="T27" fmla="*/ 176 h 337"/>
              <a:gd name="T28" fmla="*/ 176 w 224"/>
              <a:gd name="T29" fmla="*/ 112 h 337"/>
              <a:gd name="T30" fmla="*/ 112 w 224"/>
              <a:gd name="T31" fmla="*/ 48 h 337"/>
              <a:gd name="T32" fmla="*/ 112 w 224"/>
              <a:gd name="T33" fmla="*/ 160 h 337"/>
              <a:gd name="T34" fmla="*/ 64 w 224"/>
              <a:gd name="T35" fmla="*/ 112 h 337"/>
              <a:gd name="T36" fmla="*/ 112 w 224"/>
              <a:gd name="T37" fmla="*/ 64 h 337"/>
              <a:gd name="T38" fmla="*/ 160 w 224"/>
              <a:gd name="T39" fmla="*/ 112 h 337"/>
              <a:gd name="T40" fmla="*/ 112 w 224"/>
              <a:gd name="T41" fmla="*/ 160 h 3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24" h="337">
                <a:moveTo>
                  <a:pt x="112" y="0"/>
                </a:moveTo>
                <a:cubicBezTo>
                  <a:pt x="50" y="0"/>
                  <a:pt x="0" y="50"/>
                  <a:pt x="0" y="111"/>
                </a:cubicBezTo>
                <a:cubicBezTo>
                  <a:pt x="0" y="241"/>
                  <a:pt x="102" y="330"/>
                  <a:pt x="107" y="334"/>
                </a:cubicBezTo>
                <a:cubicBezTo>
                  <a:pt x="110" y="337"/>
                  <a:pt x="114" y="337"/>
                  <a:pt x="117" y="334"/>
                </a:cubicBezTo>
                <a:cubicBezTo>
                  <a:pt x="122" y="330"/>
                  <a:pt x="224" y="241"/>
                  <a:pt x="224" y="111"/>
                </a:cubicBezTo>
                <a:cubicBezTo>
                  <a:pt x="224" y="50"/>
                  <a:pt x="174" y="0"/>
                  <a:pt x="112" y="0"/>
                </a:cubicBezTo>
                <a:close/>
                <a:moveTo>
                  <a:pt x="112" y="317"/>
                </a:moveTo>
                <a:cubicBezTo>
                  <a:pt x="91" y="297"/>
                  <a:pt x="16" y="217"/>
                  <a:pt x="16" y="111"/>
                </a:cubicBezTo>
                <a:cubicBezTo>
                  <a:pt x="16" y="58"/>
                  <a:pt x="59" y="16"/>
                  <a:pt x="112" y="16"/>
                </a:cubicBezTo>
                <a:cubicBezTo>
                  <a:pt x="165" y="16"/>
                  <a:pt x="208" y="58"/>
                  <a:pt x="208" y="111"/>
                </a:cubicBezTo>
                <a:cubicBezTo>
                  <a:pt x="208" y="217"/>
                  <a:pt x="133" y="297"/>
                  <a:pt x="112" y="317"/>
                </a:cubicBezTo>
                <a:close/>
                <a:moveTo>
                  <a:pt x="112" y="48"/>
                </a:moveTo>
                <a:cubicBezTo>
                  <a:pt x="77" y="48"/>
                  <a:pt x="48" y="77"/>
                  <a:pt x="48" y="112"/>
                </a:cubicBezTo>
                <a:cubicBezTo>
                  <a:pt x="48" y="147"/>
                  <a:pt x="77" y="176"/>
                  <a:pt x="112" y="176"/>
                </a:cubicBezTo>
                <a:cubicBezTo>
                  <a:pt x="147" y="176"/>
                  <a:pt x="176" y="147"/>
                  <a:pt x="176" y="112"/>
                </a:cubicBezTo>
                <a:cubicBezTo>
                  <a:pt x="176" y="77"/>
                  <a:pt x="147" y="48"/>
                  <a:pt x="112" y="48"/>
                </a:cubicBezTo>
                <a:close/>
                <a:moveTo>
                  <a:pt x="112" y="160"/>
                </a:moveTo>
                <a:cubicBezTo>
                  <a:pt x="86" y="160"/>
                  <a:pt x="64" y="138"/>
                  <a:pt x="64" y="112"/>
                </a:cubicBezTo>
                <a:cubicBezTo>
                  <a:pt x="64" y="86"/>
                  <a:pt x="86" y="64"/>
                  <a:pt x="112" y="64"/>
                </a:cubicBezTo>
                <a:cubicBezTo>
                  <a:pt x="138" y="64"/>
                  <a:pt x="160" y="86"/>
                  <a:pt x="160" y="112"/>
                </a:cubicBezTo>
                <a:cubicBezTo>
                  <a:pt x="160" y="138"/>
                  <a:pt x="138" y="160"/>
                  <a:pt x="112" y="160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 vert="horz" wrap="square" lIns="68599" tIns="34299" rIns="68599" bIns="34299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sp>
        <p:nvSpPr>
          <p:cNvPr id="68" name="TextBox 70">
            <a:extLst>
              <a:ext uri="{FF2B5EF4-FFF2-40B4-BE49-F238E27FC236}">
                <a16:creationId xmlns:a16="http://schemas.microsoft.com/office/drawing/2014/main" id="{28A560F8-029B-4EEA-BE8A-C41A39FB8041}"/>
              </a:ext>
            </a:extLst>
          </p:cNvPr>
          <p:cNvSpPr txBox="1"/>
          <p:nvPr/>
        </p:nvSpPr>
        <p:spPr>
          <a:xfrm>
            <a:off x="5283231" y="4272070"/>
            <a:ext cx="1661156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defRPr/>
            </a:pPr>
            <a:r>
              <a:rPr lang="fr-FR" altLang="zh-CN" sz="1200" b="1" dirty="0">
                <a:solidFill>
                  <a:schemeClr val="accent2">
                    <a:lumMod val="75000"/>
                  </a:schemeClr>
                </a:solidFill>
                <a:ea typeface="微软雅黑" pitchFamily="34" charset="-122"/>
              </a:rPr>
              <a:t>NOUVEAU SYSTÈME DE GESTION DES PERMIS DE CONDUIRE ET DES CERTIFICATS D’IMMATRICULATION</a:t>
            </a:r>
            <a:endParaRPr lang="zh-CN" altLang="en-US" sz="1200" b="1" dirty="0">
              <a:solidFill>
                <a:schemeClr val="accent2">
                  <a:lumMod val="75000"/>
                </a:schemeClr>
              </a:solidFill>
              <a:ea typeface="微软雅黑" pitchFamily="34" charset="-122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3808458" y="1176269"/>
            <a:ext cx="7332453" cy="738664"/>
          </a:xfrm>
          <a:prstGeom prst="rect">
            <a:avLst/>
          </a:prstGeom>
          <a:ln>
            <a:solidFill>
              <a:schemeClr val="accent6">
                <a:lumMod val="75000"/>
              </a:schemeClr>
            </a:solidFill>
            <a:prstDash val="lgDashDot"/>
          </a:ln>
        </p:spPr>
        <p:txBody>
          <a:bodyPr wrap="square">
            <a:spAutoFit/>
          </a:bodyPr>
          <a:lstStyle/>
          <a:p>
            <a:pPr marL="171446" indent="-171446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sz="1400" b="1" dirty="0"/>
              <a:t>Demande de permis de conduire (PC) et certificat d’immatriculation (CG)en ligne;</a:t>
            </a:r>
          </a:p>
          <a:p>
            <a:pPr marL="171446" indent="-171446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fr-FR" sz="1400" b="1" dirty="0" smtClean="0"/>
              <a:t>Permis </a:t>
            </a:r>
            <a:r>
              <a:rPr lang="fr-FR" sz="1400" b="1" dirty="0"/>
              <a:t>digital et certificat d’immatriculation digital</a:t>
            </a:r>
          </a:p>
        </p:txBody>
      </p:sp>
      <p:pic>
        <p:nvPicPr>
          <p:cNvPr id="70" name="Image 6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36649" y="3457877"/>
            <a:ext cx="815451" cy="417315"/>
          </a:xfrm>
          <a:prstGeom prst="rect">
            <a:avLst/>
          </a:prstGeom>
        </p:spPr>
      </p:pic>
      <p:pic>
        <p:nvPicPr>
          <p:cNvPr id="71" name="Image 7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50706" y="3404183"/>
            <a:ext cx="722069" cy="444351"/>
          </a:xfrm>
          <a:prstGeom prst="rect">
            <a:avLst/>
          </a:prstGeom>
        </p:spPr>
      </p:pic>
      <p:pic>
        <p:nvPicPr>
          <p:cNvPr id="72" name="Image 7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52183" y="5511143"/>
            <a:ext cx="805632" cy="536111"/>
          </a:xfrm>
          <a:prstGeom prst="rect">
            <a:avLst/>
          </a:prstGeom>
        </p:spPr>
      </p:pic>
      <p:pic>
        <p:nvPicPr>
          <p:cNvPr id="73" name="Image 7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2251" y="5495119"/>
            <a:ext cx="728916" cy="454289"/>
          </a:xfrm>
          <a:prstGeom prst="rect">
            <a:avLst/>
          </a:prstGeom>
        </p:spPr>
      </p:pic>
      <p:sp>
        <p:nvSpPr>
          <p:cNvPr id="76" name="TextBox 93">
            <a:extLst>
              <a:ext uri="{FF2B5EF4-FFF2-40B4-BE49-F238E27FC236}">
                <a16:creationId xmlns:a16="http://schemas.microsoft.com/office/drawing/2014/main" id="{FADCDBE9-00AF-470C-ACCF-20267D39F8EA}"/>
              </a:ext>
            </a:extLst>
          </p:cNvPr>
          <p:cNvSpPr txBox="1"/>
          <p:nvPr/>
        </p:nvSpPr>
        <p:spPr>
          <a:xfrm>
            <a:off x="8396620" y="5464617"/>
            <a:ext cx="2611965" cy="492443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fr-FR" altLang="zh-CN" sz="1600" b="1" dirty="0" smtClean="0"/>
              <a:t>Portail</a:t>
            </a:r>
            <a:endParaRPr lang="fr-FR" altLang="zh-CN" sz="1600" b="1" dirty="0"/>
          </a:p>
          <a:p>
            <a:pPr algn="ctr"/>
            <a:r>
              <a:rPr lang="fr-FR" altLang="zh-CN" sz="1600" b="1" dirty="0"/>
              <a:t>Pour les concessionnaires</a:t>
            </a:r>
            <a:endParaRPr lang="en-US" sz="1500" b="1" dirty="0">
              <a:solidFill>
                <a:schemeClr val="tx1">
                  <a:lumMod val="85000"/>
                  <a:lumOff val="15000"/>
                </a:schemeClr>
              </a:solidFill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91229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2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2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17" name="Ellipse 16">
            <a:extLst>
              <a:ext uri="{FF2B5EF4-FFF2-40B4-BE49-F238E27FC236}">
                <a16:creationId xmlns:a16="http://schemas.microsoft.com/office/drawing/2014/main" id="{5112BAC9-FAD3-47FB-8CB9-184E3DB90C94}"/>
              </a:ext>
            </a:extLst>
          </p:cNvPr>
          <p:cNvSpPr/>
          <p:nvPr/>
        </p:nvSpPr>
        <p:spPr>
          <a:xfrm>
            <a:off x="1140884" y="2217617"/>
            <a:ext cx="200786" cy="21482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9" name="bk object 26">
            <a:extLst>
              <a:ext uri="{FF2B5EF4-FFF2-40B4-BE49-F238E27FC236}">
                <a16:creationId xmlns:a16="http://schemas.microsoft.com/office/drawing/2014/main" id="{C854543B-16D7-45AE-9FD8-0D2FBC40198C}"/>
              </a:ext>
            </a:extLst>
          </p:cNvPr>
          <p:cNvSpPr/>
          <p:nvPr/>
        </p:nvSpPr>
        <p:spPr>
          <a:xfrm>
            <a:off x="2707382" y="4216452"/>
            <a:ext cx="1851361" cy="466568"/>
          </a:xfrm>
          <a:custGeom>
            <a:avLst/>
            <a:gdLst/>
            <a:ahLst/>
            <a:cxnLst/>
            <a:rect l="l" t="t" r="r" b="b"/>
            <a:pathLst>
              <a:path w="1459026" h="322567">
                <a:moveTo>
                  <a:pt x="0" y="322567"/>
                </a:moveTo>
                <a:lnTo>
                  <a:pt x="1136446" y="322567"/>
                </a:lnTo>
                <a:lnTo>
                  <a:pt x="1459026" y="0"/>
                </a:lnTo>
              </a:path>
            </a:pathLst>
          </a:custGeom>
          <a:ln w="10401">
            <a:solidFill>
              <a:schemeClr val="accent5"/>
            </a:solidFill>
            <a:headEnd type="oval" w="med" len="med"/>
            <a:tailEnd type="oval" w="med" len="med"/>
          </a:ln>
        </p:spPr>
        <p:txBody>
          <a:bodyPr lIns="0" tIns="0" rIns="0" bIns="0"/>
          <a:lstStyle/>
          <a:p>
            <a:pPr defTabSz="718317">
              <a:defRPr/>
            </a:pPr>
            <a:endParaRPr sz="1600" dirty="0"/>
          </a:p>
        </p:txBody>
      </p:sp>
      <p:sp>
        <p:nvSpPr>
          <p:cNvPr id="20" name="bk object 33">
            <a:extLst>
              <a:ext uri="{FF2B5EF4-FFF2-40B4-BE49-F238E27FC236}">
                <a16:creationId xmlns:a16="http://schemas.microsoft.com/office/drawing/2014/main" id="{5CCF01B2-0CB8-4E36-9F90-7669052CFBDC}"/>
              </a:ext>
            </a:extLst>
          </p:cNvPr>
          <p:cNvSpPr/>
          <p:nvPr/>
        </p:nvSpPr>
        <p:spPr>
          <a:xfrm>
            <a:off x="7366045" y="2410623"/>
            <a:ext cx="1631383" cy="213144"/>
          </a:xfrm>
          <a:custGeom>
            <a:avLst/>
            <a:gdLst/>
            <a:ahLst/>
            <a:cxnLst/>
            <a:rect l="l" t="t" r="r" b="b"/>
            <a:pathLst>
              <a:path w="1113409" h="146977">
                <a:moveTo>
                  <a:pt x="0" y="0"/>
                </a:moveTo>
                <a:lnTo>
                  <a:pt x="158305" y="146977"/>
                </a:lnTo>
                <a:lnTo>
                  <a:pt x="1113409" y="146977"/>
                </a:lnTo>
              </a:path>
            </a:pathLst>
          </a:custGeom>
          <a:ln w="10401">
            <a:solidFill>
              <a:schemeClr val="accent5"/>
            </a:solidFill>
            <a:headEnd type="oval" w="med" len="med"/>
            <a:tailEnd type="oval" w="med" len="med"/>
          </a:ln>
        </p:spPr>
        <p:txBody>
          <a:bodyPr lIns="0" tIns="0" rIns="0" bIns="0"/>
          <a:lstStyle/>
          <a:p>
            <a:pPr defTabSz="718317">
              <a:defRPr/>
            </a:pPr>
            <a:endParaRPr sz="1600" dirty="0"/>
          </a:p>
        </p:txBody>
      </p:sp>
      <p:sp>
        <p:nvSpPr>
          <p:cNvPr id="21" name="bk object 35">
            <a:extLst>
              <a:ext uri="{FF2B5EF4-FFF2-40B4-BE49-F238E27FC236}">
                <a16:creationId xmlns:a16="http://schemas.microsoft.com/office/drawing/2014/main" id="{368FA5DC-5628-4EFF-AFF1-B4BD57F1B38D}"/>
              </a:ext>
            </a:extLst>
          </p:cNvPr>
          <p:cNvSpPr/>
          <p:nvPr/>
        </p:nvSpPr>
        <p:spPr>
          <a:xfrm>
            <a:off x="1398585" y="2325039"/>
            <a:ext cx="2912867" cy="119160"/>
          </a:xfrm>
          <a:custGeom>
            <a:avLst/>
            <a:gdLst/>
            <a:ahLst/>
            <a:cxnLst/>
            <a:rect l="l" t="t" r="r" b="b"/>
            <a:pathLst>
              <a:path w="1610601" h="130200">
                <a:moveTo>
                  <a:pt x="1610601" y="130200"/>
                </a:moveTo>
                <a:lnTo>
                  <a:pt x="1498333" y="0"/>
                </a:lnTo>
                <a:lnTo>
                  <a:pt x="0" y="0"/>
                </a:lnTo>
              </a:path>
            </a:pathLst>
          </a:custGeom>
          <a:ln w="10401">
            <a:solidFill>
              <a:schemeClr val="accent5"/>
            </a:solidFill>
            <a:headEnd type="oval" w="med" len="med"/>
            <a:tailEnd type="oval" w="med" len="med"/>
          </a:ln>
        </p:spPr>
        <p:txBody>
          <a:bodyPr lIns="0" tIns="0" rIns="0" bIns="0"/>
          <a:lstStyle/>
          <a:p>
            <a:pPr defTabSz="718317">
              <a:defRPr/>
            </a:pPr>
            <a:endParaRPr dirty="0"/>
          </a:p>
        </p:txBody>
      </p:sp>
      <p:sp>
        <p:nvSpPr>
          <p:cNvPr id="23" name="Espace réservé du contenu 23">
            <a:extLst>
              <a:ext uri="{FF2B5EF4-FFF2-40B4-BE49-F238E27FC236}">
                <a16:creationId xmlns:a16="http://schemas.microsoft.com/office/drawing/2014/main" id="{829DAECB-58B6-4C2E-BEDA-1CF6370700A8}"/>
              </a:ext>
            </a:extLst>
          </p:cNvPr>
          <p:cNvSpPr txBox="1">
            <a:spLocks/>
          </p:cNvSpPr>
          <p:nvPr/>
        </p:nvSpPr>
        <p:spPr>
          <a:xfrm>
            <a:off x="7629009" y="2369021"/>
            <a:ext cx="2795277" cy="1421523"/>
          </a:xfrm>
          <a:prstGeom prst="rect">
            <a:avLst/>
          </a:prstGeom>
          <a:noFill/>
          <a:ln>
            <a:noFill/>
          </a:ln>
        </p:spPr>
        <p:txBody>
          <a:bodyPr lIns="0" tIns="54000" rIns="27000" bIns="54000"/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ebdings" pitchFamily="18" charset="2"/>
              <a:buChar char="&lt;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ebdings" pitchFamily="18" charset="2"/>
              <a:buChar char="4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¬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Char char="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r>
              <a:rPr lang="fr-MA" sz="1600" b="1" dirty="0">
                <a:solidFill>
                  <a:srgbClr val="293570"/>
                </a:solidFill>
              </a:rPr>
              <a:t>Communication</a:t>
            </a:r>
            <a:endParaRPr sz="1600" b="1" dirty="0">
              <a:solidFill>
                <a:srgbClr val="293570"/>
              </a:solidFill>
            </a:endParaRPr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endParaRPr lang="fr-FR" sz="1000" dirty="0"/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r>
              <a:rPr lang="fr-FR" sz="1200" dirty="0"/>
              <a:t>Améliorer la communication avec les professionnels en les notifiant via des sms ou des emails ou d’autres canaux de communication</a:t>
            </a:r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endParaRPr lang="fr-MA" sz="1000" dirty="0"/>
          </a:p>
        </p:txBody>
      </p:sp>
      <p:sp>
        <p:nvSpPr>
          <p:cNvPr id="24" name="Espace réservé du contenu 23">
            <a:extLst>
              <a:ext uri="{FF2B5EF4-FFF2-40B4-BE49-F238E27FC236}">
                <a16:creationId xmlns:a16="http://schemas.microsoft.com/office/drawing/2014/main" id="{4805CEEC-E13A-4157-AD35-135E85E47369}"/>
              </a:ext>
            </a:extLst>
          </p:cNvPr>
          <p:cNvSpPr txBox="1">
            <a:spLocks/>
          </p:cNvSpPr>
          <p:nvPr/>
        </p:nvSpPr>
        <p:spPr>
          <a:xfrm>
            <a:off x="2704567" y="4373924"/>
            <a:ext cx="3701245" cy="1344323"/>
          </a:xfrm>
          <a:prstGeom prst="rect">
            <a:avLst/>
          </a:prstGeom>
          <a:noFill/>
          <a:ln>
            <a:noFill/>
          </a:ln>
        </p:spPr>
        <p:txBody>
          <a:bodyPr lIns="0" tIns="54000" rIns="27000" bIns="54000"/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ebdings" pitchFamily="18" charset="2"/>
              <a:buChar char="&lt;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ebdings" pitchFamily="18" charset="2"/>
              <a:buChar char="4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¬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Char char="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r>
              <a:rPr lang="fr-FR" sz="1600" b="1" dirty="0">
                <a:solidFill>
                  <a:srgbClr val="293570"/>
                </a:solidFill>
              </a:rPr>
              <a:t>Transparence</a:t>
            </a:r>
          </a:p>
          <a:p>
            <a:pPr marL="0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endParaRPr lang="fr-FR" sz="1000" dirty="0"/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r>
              <a:rPr lang="fr-FR" sz="1200" dirty="0"/>
              <a:t>Assoir plus de transparence et de fiabilité dans la relation avec les professionnels en réduisant les délais, les coûts et les ressources mobilisées</a:t>
            </a:r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endParaRPr lang="en-US" sz="1200" dirty="0"/>
          </a:p>
          <a:p>
            <a:pPr>
              <a:lnSpc>
                <a:spcPct val="100000"/>
              </a:lnSpc>
              <a:spcAft>
                <a:spcPts val="225"/>
              </a:spcAft>
              <a:defRPr/>
            </a:pPr>
            <a:endParaRPr sz="1050" dirty="0"/>
          </a:p>
        </p:txBody>
      </p:sp>
      <p:sp>
        <p:nvSpPr>
          <p:cNvPr id="25" name="Espace réservé du contenu 23">
            <a:extLst>
              <a:ext uri="{FF2B5EF4-FFF2-40B4-BE49-F238E27FC236}">
                <a16:creationId xmlns:a16="http://schemas.microsoft.com/office/drawing/2014/main" id="{FD12E663-8DC9-486D-874F-AFC68459ABB1}"/>
              </a:ext>
            </a:extLst>
          </p:cNvPr>
          <p:cNvSpPr txBox="1">
            <a:spLocks/>
          </p:cNvSpPr>
          <p:nvPr/>
        </p:nvSpPr>
        <p:spPr>
          <a:xfrm>
            <a:off x="1457641" y="2054259"/>
            <a:ext cx="2759324" cy="1960259"/>
          </a:xfrm>
          <a:prstGeom prst="rect">
            <a:avLst/>
          </a:prstGeom>
          <a:noFill/>
          <a:ln>
            <a:noFill/>
          </a:ln>
        </p:spPr>
        <p:txBody>
          <a:bodyPr lIns="0" tIns="54000" rIns="27000" bIns="54000"/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ebdings" pitchFamily="18" charset="2"/>
              <a:buChar char="&lt;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ebdings" pitchFamily="18" charset="2"/>
              <a:buChar char="4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¬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Char char="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r>
              <a:rPr lang="fr-MA" sz="1600" b="1" dirty="0">
                <a:solidFill>
                  <a:srgbClr val="293570"/>
                </a:solidFill>
              </a:rPr>
              <a:t>Services</a:t>
            </a:r>
            <a:endParaRPr sz="1600" b="1" dirty="0">
              <a:solidFill>
                <a:srgbClr val="293570"/>
              </a:solidFill>
            </a:endParaRPr>
          </a:p>
          <a:p>
            <a:pPr lvl="1">
              <a:lnSpc>
                <a:spcPct val="100000"/>
              </a:lnSpc>
              <a:spcAft>
                <a:spcPts val="225"/>
              </a:spcAft>
              <a:defRPr/>
            </a:pPr>
            <a:endParaRPr sz="1000" dirty="0"/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</a:pPr>
            <a:r>
              <a:rPr lang="fr-FR" sz="1200" dirty="0"/>
              <a:t>Améliorer les services rendus aux professionnels en leur permettant de réaliser à distance plusieurs procédures, de se renseigner et de s ’informer sur l’état d’avancement de leurs dossiers;</a:t>
            </a:r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</a:pPr>
            <a:endParaRPr lang="fr-FR" sz="1200" dirty="0"/>
          </a:p>
          <a:p>
            <a:pPr>
              <a:lnSpc>
                <a:spcPct val="100000"/>
              </a:lnSpc>
              <a:spcAft>
                <a:spcPts val="225"/>
              </a:spcAft>
              <a:buNone/>
              <a:defRPr/>
            </a:pPr>
            <a:endParaRPr sz="1600" dirty="0"/>
          </a:p>
          <a:p>
            <a:pPr>
              <a:lnSpc>
                <a:spcPct val="100000"/>
              </a:lnSpc>
              <a:spcAft>
                <a:spcPts val="225"/>
              </a:spcAft>
              <a:defRPr/>
            </a:pPr>
            <a:endParaRPr sz="1050" dirty="0"/>
          </a:p>
        </p:txBody>
      </p:sp>
      <p:sp>
        <p:nvSpPr>
          <p:cNvPr id="26" name="Ellipse 25">
            <a:extLst>
              <a:ext uri="{FF2B5EF4-FFF2-40B4-BE49-F238E27FC236}">
                <a16:creationId xmlns:a16="http://schemas.microsoft.com/office/drawing/2014/main" id="{D862CD86-EB44-42BD-931E-F4086ACC207E}"/>
              </a:ext>
            </a:extLst>
          </p:cNvPr>
          <p:cNvSpPr/>
          <p:nvPr/>
        </p:nvSpPr>
        <p:spPr>
          <a:xfrm>
            <a:off x="9064531" y="2502929"/>
            <a:ext cx="200786" cy="21482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27" name="Ellipse 26">
            <a:extLst>
              <a:ext uri="{FF2B5EF4-FFF2-40B4-BE49-F238E27FC236}">
                <a16:creationId xmlns:a16="http://schemas.microsoft.com/office/drawing/2014/main" id="{905BABC6-43A7-4F9D-95A7-E3DF97A3EEA2}"/>
              </a:ext>
            </a:extLst>
          </p:cNvPr>
          <p:cNvSpPr/>
          <p:nvPr/>
        </p:nvSpPr>
        <p:spPr>
          <a:xfrm>
            <a:off x="2451577" y="4575599"/>
            <a:ext cx="200786" cy="21482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b="1" dirty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28" name="Picture 1">
            <a:extLst>
              <a:ext uri="{FF2B5EF4-FFF2-40B4-BE49-F238E27FC236}">
                <a16:creationId xmlns:a16="http://schemas.microsoft.com/office/drawing/2014/main" id="{B4C6EEDF-3B24-4BB7-93A8-36A317993A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58742" y="1998130"/>
            <a:ext cx="2633865" cy="2554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bk object 33">
            <a:extLst>
              <a:ext uri="{FF2B5EF4-FFF2-40B4-BE49-F238E27FC236}">
                <a16:creationId xmlns:a16="http://schemas.microsoft.com/office/drawing/2014/main" id="{B7113509-250F-4A20-B845-36CB68B4FCB1}"/>
              </a:ext>
            </a:extLst>
          </p:cNvPr>
          <p:cNvSpPr/>
          <p:nvPr/>
        </p:nvSpPr>
        <p:spPr>
          <a:xfrm>
            <a:off x="7160831" y="4625649"/>
            <a:ext cx="1836596" cy="120838"/>
          </a:xfrm>
          <a:custGeom>
            <a:avLst/>
            <a:gdLst/>
            <a:ahLst/>
            <a:cxnLst/>
            <a:rect l="l" t="t" r="r" b="b"/>
            <a:pathLst>
              <a:path w="1113409" h="146977">
                <a:moveTo>
                  <a:pt x="0" y="0"/>
                </a:moveTo>
                <a:lnTo>
                  <a:pt x="158305" y="146977"/>
                </a:lnTo>
                <a:lnTo>
                  <a:pt x="1113409" y="146977"/>
                </a:lnTo>
              </a:path>
            </a:pathLst>
          </a:custGeom>
          <a:ln w="10401">
            <a:solidFill>
              <a:schemeClr val="accent5"/>
            </a:solidFill>
            <a:headEnd type="oval" w="med" len="med"/>
            <a:tailEnd type="oval" w="med" len="med"/>
          </a:ln>
        </p:spPr>
        <p:txBody>
          <a:bodyPr lIns="0" tIns="0" rIns="0" bIns="0"/>
          <a:lstStyle/>
          <a:p>
            <a:pPr defTabSz="718317">
              <a:defRPr/>
            </a:pPr>
            <a:endParaRPr sz="1600" dirty="0"/>
          </a:p>
        </p:txBody>
      </p:sp>
      <p:sp>
        <p:nvSpPr>
          <p:cNvPr id="36" name="Espace réservé du contenu 23">
            <a:extLst>
              <a:ext uri="{FF2B5EF4-FFF2-40B4-BE49-F238E27FC236}">
                <a16:creationId xmlns:a16="http://schemas.microsoft.com/office/drawing/2014/main" id="{96E58FCE-2010-49D9-9868-B901D4C7E87C}"/>
              </a:ext>
            </a:extLst>
          </p:cNvPr>
          <p:cNvSpPr txBox="1">
            <a:spLocks/>
          </p:cNvSpPr>
          <p:nvPr/>
        </p:nvSpPr>
        <p:spPr>
          <a:xfrm>
            <a:off x="7534383" y="4449735"/>
            <a:ext cx="3404549" cy="1895053"/>
          </a:xfrm>
          <a:prstGeom prst="rect">
            <a:avLst/>
          </a:prstGeom>
          <a:noFill/>
          <a:ln>
            <a:noFill/>
          </a:ln>
        </p:spPr>
        <p:txBody>
          <a:bodyPr lIns="0" tIns="54000" rIns="27000" bIns="54000"/>
          <a:lstStyle>
            <a:lvl1pPr marL="166189" indent="-166189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ebdings" pitchFamily="18" charset="2"/>
              <a:buChar char="&lt;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5600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5"/>
              </a:buClr>
              <a:buFont typeface="Webdings" pitchFamily="18" charset="2"/>
              <a:buChar char="4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 3" pitchFamily="18" charset="2"/>
              <a:buChar char="¬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1200" indent="-1651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4"/>
              </a:buClr>
              <a:buFont typeface="Wingdings" pitchFamily="2" charset="2"/>
              <a:buChar char=""/>
              <a:defRPr lang="en-US" sz="14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09624" indent="-193663" algn="l" defTabSz="914342" rtl="0" eaLnBrk="1" latinLnBrk="0" hangingPunct="1">
              <a:spcBef>
                <a:spcPts val="0"/>
              </a:spcBef>
              <a:buClr>
                <a:srgbClr val="B1B1B1"/>
              </a:buClr>
              <a:buFont typeface="Arial" pitchFamily="34" charset="0"/>
              <a:buChar char="–"/>
              <a:defRPr sz="1700" kern="1200">
                <a:solidFill>
                  <a:srgbClr val="494949"/>
                </a:solidFill>
                <a:latin typeface="+mn-lt"/>
                <a:ea typeface="+mn-ea"/>
                <a:cs typeface="+mn-cs"/>
              </a:defRPr>
            </a:lvl5pPr>
            <a:lvl6pPr marL="2514441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12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783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954" indent="-228586" algn="l" defTabSz="9143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r>
              <a:rPr lang="fr-MA" sz="1600" b="1" dirty="0">
                <a:solidFill>
                  <a:srgbClr val="293570"/>
                </a:solidFill>
              </a:rPr>
              <a:t>Dématérialisation</a:t>
            </a:r>
          </a:p>
          <a:p>
            <a:pPr marL="0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endParaRPr lang="fr-MA" sz="1000" dirty="0"/>
          </a:p>
          <a:p>
            <a:pPr marL="130969" lvl="1" indent="0">
              <a:lnSpc>
                <a:spcPct val="100000"/>
              </a:lnSpc>
              <a:spcAft>
                <a:spcPts val="225"/>
              </a:spcAft>
              <a:buNone/>
              <a:defRPr/>
            </a:pPr>
            <a:r>
              <a:rPr lang="fr-FR" sz="1200" dirty="0"/>
              <a:t>Dématérialiser et digitaliser les procédures métiers </a:t>
            </a:r>
            <a:r>
              <a:rPr lang="fr-FR" sz="1200" dirty="0" smtClean="0"/>
              <a:t>au profit </a:t>
            </a:r>
            <a:r>
              <a:rPr lang="fr-FR" sz="1200" dirty="0"/>
              <a:t>des professionnels du secteur </a:t>
            </a:r>
            <a:r>
              <a:rPr lang="fr-FR" sz="1200" dirty="0" smtClean="0"/>
              <a:t>automobile et de l'enseignement de la conduite</a:t>
            </a:r>
            <a:endParaRPr lang="fr-FR" sz="1200" dirty="0"/>
          </a:p>
          <a:p>
            <a:pPr>
              <a:lnSpc>
                <a:spcPct val="100000"/>
              </a:lnSpc>
              <a:spcAft>
                <a:spcPts val="225"/>
              </a:spcAft>
              <a:buNone/>
              <a:defRPr/>
            </a:pPr>
            <a:endParaRPr lang="fr-MA" sz="1050" dirty="0"/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0FCD2277-1C8E-44F6-8E82-D08996DDDDD8}"/>
              </a:ext>
            </a:extLst>
          </p:cNvPr>
          <p:cNvSpPr/>
          <p:nvPr/>
        </p:nvSpPr>
        <p:spPr>
          <a:xfrm>
            <a:off x="9169698" y="4573139"/>
            <a:ext cx="200786" cy="214823"/>
          </a:xfrm>
          <a:prstGeom prst="ellipse">
            <a:avLst/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fr-FR" sz="10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Rectangle 51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ORTAILS DEDIES AUX PROFESSIONNELS</a:t>
            </a:r>
            <a:endParaRPr lang="en-US" sz="2800" b="1" dirty="0"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7814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3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0" y="767798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>
                <a:latin typeface="Garamond" panose="02020404030301010803" pitchFamily="18" charset="0"/>
              </a:rPr>
              <a:t>TÉLÉ-SERVICES : </a:t>
            </a:r>
            <a:r>
              <a:rPr lang="fr-FR" sz="2800" b="1" dirty="0" smtClean="0">
                <a:latin typeface="Garamond" panose="02020404030301010803" pitchFamily="18" charset="0"/>
              </a:rPr>
              <a:t>PROFESSIONNELS AUTO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3</a:t>
            </a:fld>
            <a:endParaRPr lang="en-US" dirty="0"/>
          </a:p>
        </p:txBody>
      </p:sp>
      <p:grpSp>
        <p:nvGrpSpPr>
          <p:cNvPr id="39" name="Groupe 38"/>
          <p:cNvGrpSpPr/>
          <p:nvPr/>
        </p:nvGrpSpPr>
        <p:grpSpPr>
          <a:xfrm>
            <a:off x="1555638" y="2405446"/>
            <a:ext cx="8630652" cy="4259248"/>
            <a:chOff x="1498600" y="1600200"/>
            <a:chExt cx="12725400" cy="4582531"/>
          </a:xfrm>
        </p:grpSpPr>
        <p:sp>
          <p:nvSpPr>
            <p:cNvPr id="40" name="Rectangle 6">
              <a:extLst>
                <a:ext uri="{FF2B5EF4-FFF2-40B4-BE49-F238E27FC236}">
                  <a16:creationId xmlns:a16="http://schemas.microsoft.com/office/drawing/2014/main" id="{83522169-4C5A-47E9-B089-C5B2249C989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606394" y="3647069"/>
              <a:ext cx="3702206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MA" sz="1400" b="1" kern="0">
                  <a:solidFill>
                    <a:prstClr val="white"/>
                  </a:solidFill>
                  <a:latin typeface="Arial"/>
                </a:rPr>
                <a:t>Gestion de l’immatriculation spéciale W18</a:t>
              </a:r>
              <a:endParaRPr lang="fr-FR" sz="1400" b="1" kern="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1" name="Rectangle 6">
              <a:extLst>
                <a:ext uri="{FF2B5EF4-FFF2-40B4-BE49-F238E27FC236}">
                  <a16:creationId xmlns:a16="http://schemas.microsoft.com/office/drawing/2014/main" id="{929B550C-7F40-4495-B86B-886AEA2E0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882" y="3545801"/>
              <a:ext cx="3917536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42" name="Rectangle 6">
              <a:extLst>
                <a:ext uri="{FF2B5EF4-FFF2-40B4-BE49-F238E27FC236}">
                  <a16:creationId xmlns:a16="http://schemas.microsoft.com/office/drawing/2014/main" id="{D0511B83-8215-490D-A4A1-5FDAF584C37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12095" y="3647069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MA" sz="1400" b="1" kern="0">
                  <a:solidFill>
                    <a:prstClr val="white"/>
                  </a:solidFill>
                  <a:latin typeface="Arial"/>
                </a:rPr>
                <a:t>Gestion des contrats de vente à crédit et la main levée des organismes de crédits </a:t>
              </a:r>
              <a:endParaRPr lang="fr-FR" sz="1400" b="1" kern="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3" name="Rectangle 6">
              <a:extLst>
                <a:ext uri="{FF2B5EF4-FFF2-40B4-BE49-F238E27FC236}">
                  <a16:creationId xmlns:a16="http://schemas.microsoft.com/office/drawing/2014/main" id="{EC1D4674-FD38-421E-AF71-7796467A6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9243" y="35458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44" name="Ellipse 43">
              <a:extLst>
                <a:ext uri="{FF2B5EF4-FFF2-40B4-BE49-F238E27FC236}">
                  <a16:creationId xmlns:a16="http://schemas.microsoft.com/office/drawing/2014/main" id="{BDDC5068-738A-476D-82C7-9643E66790D5}"/>
                </a:ext>
              </a:extLst>
            </p:cNvPr>
            <p:cNvSpPr/>
            <p:nvPr/>
          </p:nvSpPr>
          <p:spPr>
            <a:xfrm>
              <a:off x="3029072" y="3276600"/>
              <a:ext cx="846082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45" name="Ellipse 44">
              <a:extLst>
                <a:ext uri="{FF2B5EF4-FFF2-40B4-BE49-F238E27FC236}">
                  <a16:creationId xmlns:a16="http://schemas.microsoft.com/office/drawing/2014/main" id="{94D7C3E5-D805-48FD-B5C4-00A540D6C687}"/>
                </a:ext>
              </a:extLst>
            </p:cNvPr>
            <p:cNvSpPr/>
            <p:nvPr/>
          </p:nvSpPr>
          <p:spPr>
            <a:xfrm>
              <a:off x="7257504" y="32766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b="1" kern="0" dirty="0">
                  <a:solidFill>
                    <a:srgbClr val="263147"/>
                  </a:solidFill>
                  <a:latin typeface="Arial"/>
                </a:rPr>
                <a:t>5</a:t>
              </a:r>
              <a:endPara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tangle 6">
              <a:extLst>
                <a:ext uri="{FF2B5EF4-FFF2-40B4-BE49-F238E27FC236}">
                  <a16:creationId xmlns:a16="http://schemas.microsoft.com/office/drawing/2014/main" id="{415EB61B-71FD-43C3-BD61-C26B09F32123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213363" y="3663834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solidFill>
                <a:srgbClr val="FFFF00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400" b="1" kern="0">
                  <a:solidFill>
                    <a:prstClr val="white"/>
                  </a:solidFill>
                  <a:latin typeface="Arial"/>
                  <a:ea typeface="+mn-ea"/>
                </a:rPr>
                <a:t>Gestion des revendeurs par concessionnaire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48" name="Rectangle 6">
              <a:extLst>
                <a:ext uri="{FF2B5EF4-FFF2-40B4-BE49-F238E27FC236}">
                  <a16:creationId xmlns:a16="http://schemas.microsoft.com/office/drawing/2014/main" id="{E2920C25-604A-42F0-94A2-4694ADFE7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17793" y="35458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49" name="Ellipse 48">
              <a:extLst>
                <a:ext uri="{FF2B5EF4-FFF2-40B4-BE49-F238E27FC236}">
                  <a16:creationId xmlns:a16="http://schemas.microsoft.com/office/drawing/2014/main" id="{53F9FDDF-49EE-4249-AC9F-C2ADFD5F143A}"/>
                </a:ext>
              </a:extLst>
            </p:cNvPr>
            <p:cNvSpPr/>
            <p:nvPr/>
          </p:nvSpPr>
          <p:spPr>
            <a:xfrm>
              <a:off x="11676054" y="32766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b="1" kern="0" dirty="0">
                  <a:solidFill>
                    <a:srgbClr val="263147"/>
                  </a:solidFill>
                  <a:latin typeface="Arial"/>
                </a:rPr>
                <a:t>6</a:t>
              </a:r>
              <a:endParaRPr kumimoji="0" lang="fr-FR" sz="1800" b="1" i="0" u="none" strike="noStrike" kern="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Rectangle 6">
              <a:extLst>
                <a:ext uri="{FF2B5EF4-FFF2-40B4-BE49-F238E27FC236}">
                  <a16:creationId xmlns:a16="http://schemas.microsoft.com/office/drawing/2014/main" id="{4E9CEBD8-5C53-4CBB-A418-16F025A4373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869566" y="5029200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MA" sz="1400" b="1" kern="0" dirty="0">
                  <a:solidFill>
                    <a:prstClr val="white"/>
                  </a:solidFill>
                  <a:latin typeface="Arial"/>
                </a:rPr>
                <a:t>Paiement électronique</a:t>
              </a:r>
              <a:endParaRPr lang="fr-FR" sz="1400" b="1" kern="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1" name="Ellipse 50">
              <a:extLst>
                <a:ext uri="{FF2B5EF4-FFF2-40B4-BE49-F238E27FC236}">
                  <a16:creationId xmlns:a16="http://schemas.microsoft.com/office/drawing/2014/main" id="{DE5B388E-AE7A-4180-A1A8-0CAC39DAA029}"/>
                </a:ext>
              </a:extLst>
            </p:cNvPr>
            <p:cNvSpPr/>
            <p:nvPr/>
          </p:nvSpPr>
          <p:spPr>
            <a:xfrm>
              <a:off x="7350233" y="4734242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53" name="Rectangle 6">
              <a:extLst>
                <a:ext uri="{FF2B5EF4-FFF2-40B4-BE49-F238E27FC236}">
                  <a16:creationId xmlns:a16="http://schemas.microsoft.com/office/drawing/2014/main" id="{F6D7D840-5257-4701-86BE-2CC9C752BC7A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589112" y="1970669"/>
              <a:ext cx="3702206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400" b="1" kern="0" dirty="0">
                  <a:solidFill>
                    <a:prstClr val="white"/>
                  </a:solidFill>
                  <a:latin typeface="Arial"/>
                </a:rPr>
                <a:t>Inscription En ligne des professionnels automobiles 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54" name="Rectangle 6">
              <a:extLst>
                <a:ext uri="{FF2B5EF4-FFF2-40B4-BE49-F238E27FC236}">
                  <a16:creationId xmlns:a16="http://schemas.microsoft.com/office/drawing/2014/main" id="{F2620A84-8304-4492-B778-AC53550FA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8600" y="1869401"/>
              <a:ext cx="3917536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55" name="Rectangle 6">
              <a:extLst>
                <a:ext uri="{FF2B5EF4-FFF2-40B4-BE49-F238E27FC236}">
                  <a16:creationId xmlns:a16="http://schemas.microsoft.com/office/drawing/2014/main" id="{D1548BC8-BA93-4CBA-BB11-0F6AA43F01E8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794813" y="1970669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endParaRPr lang="fr-FR" sz="1400" b="1" kern="0" dirty="0">
                <a:solidFill>
                  <a:prstClr val="white"/>
                </a:solidFill>
                <a:latin typeface="Arial"/>
              </a:endParaRPr>
            </a:p>
            <a:p>
              <a:pPr algn="ctr">
                <a:defRPr/>
              </a:pPr>
              <a:r>
                <a:rPr lang="fr-FR" sz="1400" b="1" kern="0" dirty="0">
                  <a:solidFill>
                    <a:prstClr val="white"/>
                  </a:solidFill>
                  <a:latin typeface="Arial"/>
                </a:rPr>
                <a:t>Gestion des d</a:t>
              </a:r>
              <a:r>
                <a:rPr lang="fr-FR" sz="1400" b="1" kern="0" dirty="0">
                  <a:solidFill>
                    <a:prstClr val="white"/>
                  </a:solidFill>
                  <a:latin typeface="Arial"/>
                  <a:ea typeface="+mn-ea"/>
                </a:rPr>
                <a:t>emandes d’immatriculation des véhicules neufs et mutation des véhicules d’occasion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</a:endParaRPr>
            </a:p>
            <a:p>
              <a:pPr algn="ctr">
                <a:defRPr/>
              </a:pPr>
              <a:endParaRPr lang="fr-FR" sz="1400" b="1" kern="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6" name="Rectangle 6">
              <a:extLst>
                <a:ext uri="{FF2B5EF4-FFF2-40B4-BE49-F238E27FC236}">
                  <a16:creationId xmlns:a16="http://schemas.microsoft.com/office/drawing/2014/main" id="{F1228B25-479D-4734-8EC1-A00F7B596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961" y="18694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57" name="Ellipse 56">
              <a:extLst>
                <a:ext uri="{FF2B5EF4-FFF2-40B4-BE49-F238E27FC236}">
                  <a16:creationId xmlns:a16="http://schemas.microsoft.com/office/drawing/2014/main" id="{A813E0D3-5A68-4BCB-A84C-CF225347089D}"/>
                </a:ext>
              </a:extLst>
            </p:cNvPr>
            <p:cNvSpPr/>
            <p:nvPr/>
          </p:nvSpPr>
          <p:spPr>
            <a:xfrm>
              <a:off x="3011790" y="1600200"/>
              <a:ext cx="846082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4B67277B-B4BC-4D0E-A53E-B0EE7EF182D9}"/>
                </a:ext>
              </a:extLst>
            </p:cNvPr>
            <p:cNvSpPr/>
            <p:nvPr/>
          </p:nvSpPr>
          <p:spPr>
            <a:xfrm>
              <a:off x="7240222" y="16002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59" name="Rectangle 6">
              <a:extLst>
                <a:ext uri="{FF2B5EF4-FFF2-40B4-BE49-F238E27FC236}">
                  <a16:creationId xmlns:a16="http://schemas.microsoft.com/office/drawing/2014/main" id="{5BDC79AA-5A54-474E-9C0F-901CBF9BE269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196081" y="1987434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solidFill>
                <a:srgbClr val="FFFF00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endParaRPr lang="fr-MA" sz="1400" b="1" kern="0" dirty="0">
                <a:solidFill>
                  <a:prstClr val="white"/>
                </a:solidFill>
                <a:latin typeface="Arial"/>
              </a:endParaRPr>
            </a:p>
            <a:p>
              <a:pPr algn="ctr">
                <a:defRPr/>
              </a:pPr>
              <a:r>
                <a:rPr lang="fr-MA" sz="1400" b="1" kern="0" dirty="0">
                  <a:solidFill>
                    <a:prstClr val="white"/>
                  </a:solidFill>
                  <a:latin typeface="Arial"/>
                </a:rPr>
                <a:t>Gestion des carnets WWW</a:t>
              </a:r>
              <a:endParaRPr lang="fr-FR" sz="1400" b="1" kern="0" dirty="0">
                <a:solidFill>
                  <a:prstClr val="white"/>
                </a:solidFill>
                <a:latin typeface="Arial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sz="1400" b="1" kern="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0" name="Rectangle 6">
              <a:extLst>
                <a:ext uri="{FF2B5EF4-FFF2-40B4-BE49-F238E27FC236}">
                  <a16:creationId xmlns:a16="http://schemas.microsoft.com/office/drawing/2014/main" id="{C12EE86A-62E5-433C-95F9-6232549EC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00511" y="18694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0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/>
                <a:ea typeface="+mn-ea"/>
              </a:endParaRPr>
            </a:p>
          </p:txBody>
        </p:sp>
        <p:sp>
          <p:nvSpPr>
            <p:cNvPr id="61" name="Ellipse 60">
              <a:extLst>
                <a:ext uri="{FF2B5EF4-FFF2-40B4-BE49-F238E27FC236}">
                  <a16:creationId xmlns:a16="http://schemas.microsoft.com/office/drawing/2014/main" id="{BE19B921-2189-4A5F-9C19-CCA716936A31}"/>
                </a:ext>
              </a:extLst>
            </p:cNvPr>
            <p:cNvSpPr/>
            <p:nvPr/>
          </p:nvSpPr>
          <p:spPr>
            <a:xfrm>
              <a:off x="11658772" y="16002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  <p:sp>
        <p:nvSpPr>
          <p:cNvPr id="62" name="Rectangle 61"/>
          <p:cNvSpPr/>
          <p:nvPr/>
        </p:nvSpPr>
        <p:spPr>
          <a:xfrm>
            <a:off x="2229826" y="1633645"/>
            <a:ext cx="73304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kern="0" dirty="0" smtClean="0">
                <a:latin typeface="Garamond" panose="02020404030301010803" pitchFamily="18" charset="0"/>
              </a:rPr>
              <a:t>Dématérialisation des différentes opérations relatives </a:t>
            </a:r>
          </a:p>
          <a:p>
            <a:r>
              <a:rPr lang="fr-FR" b="1" kern="0" dirty="0" smtClean="0">
                <a:latin typeface="Garamond" panose="02020404030301010803" pitchFamily="18" charset="0"/>
              </a:rPr>
              <a:t>à l’immatriculation et la mutation des véhicules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63" name="Flèche droite 62"/>
          <p:cNvSpPr/>
          <p:nvPr/>
        </p:nvSpPr>
        <p:spPr>
          <a:xfrm>
            <a:off x="1322416" y="1724067"/>
            <a:ext cx="899160" cy="4654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4" name="Image 6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145553" y="721428"/>
            <a:ext cx="2881983" cy="1796165"/>
          </a:xfrm>
          <a:prstGeom prst="rect">
            <a:avLst/>
          </a:prstGeom>
        </p:spPr>
      </p:pic>
      <p:sp>
        <p:nvSpPr>
          <p:cNvPr id="4" name="Explosion 1 3"/>
          <p:cNvSpPr/>
          <p:nvPr/>
        </p:nvSpPr>
        <p:spPr>
          <a:xfrm>
            <a:off x="8172813" y="5199321"/>
            <a:ext cx="3995940" cy="1658679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/>
              <a:t>210.000 Immatriculation</a:t>
            </a:r>
          </a:p>
          <a:p>
            <a:pPr algn="ctr"/>
            <a:r>
              <a:rPr lang="fr-FR" b="1" dirty="0" smtClean="0"/>
              <a:t>670.000 Mutation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3748997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" name="Image 8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022797" y="731636"/>
            <a:ext cx="3095198" cy="1584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4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0" y="767798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TÉLÉ-SERVICES</a:t>
            </a:r>
            <a:r>
              <a:rPr lang="fr-FR" sz="2800" b="1" dirty="0">
                <a:latin typeface="Garamond" panose="02020404030301010803" pitchFamily="18" charset="0"/>
              </a:rPr>
              <a:t>: </a:t>
            </a:r>
            <a:r>
              <a:rPr lang="fr-FR" sz="2800" b="1" dirty="0" smtClean="0">
                <a:latin typeface="Garamond" panose="02020404030301010803" pitchFamily="18" charset="0"/>
              </a:rPr>
              <a:t>EEC / EESR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4</a:t>
            </a:fld>
            <a:endParaRPr lang="en-US" dirty="0"/>
          </a:p>
        </p:txBody>
      </p:sp>
      <p:grpSp>
        <p:nvGrpSpPr>
          <p:cNvPr id="46" name="Groupe 45"/>
          <p:cNvGrpSpPr/>
          <p:nvPr/>
        </p:nvGrpSpPr>
        <p:grpSpPr>
          <a:xfrm>
            <a:off x="1657240" y="2435512"/>
            <a:ext cx="8630652" cy="3950904"/>
            <a:chOff x="1498600" y="1600200"/>
            <a:chExt cx="12725400" cy="4582531"/>
          </a:xfrm>
        </p:grpSpPr>
        <p:sp>
          <p:nvSpPr>
            <p:cNvPr id="64" name="Rectangle 6">
              <a:extLst>
                <a:ext uri="{FF2B5EF4-FFF2-40B4-BE49-F238E27FC236}">
                  <a16:creationId xmlns:a16="http://schemas.microsoft.com/office/drawing/2014/main" id="{83522169-4C5A-47E9-B089-C5B2249C989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1606394" y="3647069"/>
              <a:ext cx="3702206" cy="1153531"/>
            </a:xfrm>
            <a:prstGeom prst="roundRect">
              <a:avLst>
                <a:gd name="adj" fmla="val 16734"/>
              </a:avLst>
            </a:prstGeom>
            <a:solidFill>
              <a:schemeClr val="accent1">
                <a:lumMod val="75000"/>
              </a:schemeClr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es établissements d’éducation à la sécurité routière</a:t>
              </a:r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5" name="Rectangle 6">
              <a:extLst>
                <a:ext uri="{FF2B5EF4-FFF2-40B4-BE49-F238E27FC236}">
                  <a16:creationId xmlns:a16="http://schemas.microsoft.com/office/drawing/2014/main" id="{929B550C-7F40-4495-B86B-886AEA2E0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5882" y="3545801"/>
              <a:ext cx="3917536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6">
              <a:extLst>
                <a:ext uri="{FF2B5EF4-FFF2-40B4-BE49-F238E27FC236}">
                  <a16:creationId xmlns:a16="http://schemas.microsoft.com/office/drawing/2014/main" id="{D0511B83-8215-490D-A4A1-5FDAF584C37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812095" y="3647069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chemeClr val="accent1">
                <a:lumMod val="75000"/>
              </a:schemeClr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/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es </a:t>
              </a:r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imateurs </a:t>
              </a:r>
            </a:p>
            <a:p>
              <a:pPr algn="ctr"/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 </a:t>
              </a: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a sécurité routière</a:t>
              </a:r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Rectangle 6">
              <a:extLst>
                <a:ext uri="{FF2B5EF4-FFF2-40B4-BE49-F238E27FC236}">
                  <a16:creationId xmlns:a16="http://schemas.microsoft.com/office/drawing/2014/main" id="{EC1D4674-FD38-421E-AF71-7796467A6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99243" y="35458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BDDC5068-738A-476D-82C7-9643E66790D5}"/>
                </a:ext>
              </a:extLst>
            </p:cNvPr>
            <p:cNvSpPr/>
            <p:nvPr/>
          </p:nvSpPr>
          <p:spPr>
            <a:xfrm>
              <a:off x="3029072" y="3276600"/>
              <a:ext cx="846082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94D7C3E5-D805-48FD-B5C4-00A540D6C687}"/>
                </a:ext>
              </a:extLst>
            </p:cNvPr>
            <p:cNvSpPr/>
            <p:nvPr/>
          </p:nvSpPr>
          <p:spPr>
            <a:xfrm>
              <a:off x="7257504" y="32766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400" b="1" kern="0" dirty="0">
                  <a:solidFill>
                    <a:srgbClr val="2631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Rectangle 6">
              <a:extLst>
                <a:ext uri="{FF2B5EF4-FFF2-40B4-BE49-F238E27FC236}">
                  <a16:creationId xmlns:a16="http://schemas.microsoft.com/office/drawing/2014/main" id="{415EB61B-71FD-43C3-BD61-C26B09F32123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0213363" y="3663834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rgbClr val="FFFF00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es centres de formation des </a:t>
              </a:r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iteurs</a:t>
              </a:r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1" name="Rectangle 6">
              <a:extLst>
                <a:ext uri="{FF2B5EF4-FFF2-40B4-BE49-F238E27FC236}">
                  <a16:creationId xmlns:a16="http://schemas.microsoft.com/office/drawing/2014/main" id="{E2920C25-604A-42F0-94A2-4694ADFE7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17793" y="35458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53F9FDDF-49EE-4249-AC9F-C2ADFD5F143A}"/>
                </a:ext>
              </a:extLst>
            </p:cNvPr>
            <p:cNvSpPr/>
            <p:nvPr/>
          </p:nvSpPr>
          <p:spPr>
            <a:xfrm>
              <a:off x="11676054" y="32766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400" b="1" kern="0" dirty="0">
                  <a:solidFill>
                    <a:srgbClr val="2631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3" name="Rectangle 6">
              <a:extLst>
                <a:ext uri="{FF2B5EF4-FFF2-40B4-BE49-F238E27FC236}">
                  <a16:creationId xmlns:a16="http://schemas.microsoft.com/office/drawing/2014/main" id="{4E9CEBD8-5C53-4CBB-A418-16F025A4373B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869566" y="5029200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chemeClr val="accent1">
                <a:lumMod val="75000"/>
              </a:schemeClr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MA" sz="14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iement électronique</a:t>
              </a: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DE5B388E-AE7A-4180-A1A8-0CAC39DAA029}"/>
                </a:ext>
              </a:extLst>
            </p:cNvPr>
            <p:cNvSpPr/>
            <p:nvPr/>
          </p:nvSpPr>
          <p:spPr>
            <a:xfrm>
              <a:off x="7350233" y="4734242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7</a:t>
              </a:r>
            </a:p>
          </p:txBody>
        </p:sp>
        <p:sp>
          <p:nvSpPr>
            <p:cNvPr id="75" name="Rectangle 6">
              <a:extLst>
                <a:ext uri="{FF2B5EF4-FFF2-40B4-BE49-F238E27FC236}">
                  <a16:creationId xmlns:a16="http://schemas.microsoft.com/office/drawing/2014/main" id="{F6D7D840-5257-4701-86BE-2CC9C752BC7A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589112" y="1970669"/>
              <a:ext cx="3702206" cy="1153531"/>
            </a:xfrm>
            <a:prstGeom prst="roundRect">
              <a:avLst>
                <a:gd name="adj" fmla="val 16734"/>
              </a:avLst>
            </a:prstGeom>
            <a:solidFill>
              <a:schemeClr val="accent1">
                <a:lumMod val="75000"/>
              </a:schemeClr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es établissement d’enseignement de la </a:t>
              </a:r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duite</a:t>
              </a:r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6" name="Rectangle 6">
              <a:extLst>
                <a:ext uri="{FF2B5EF4-FFF2-40B4-BE49-F238E27FC236}">
                  <a16:creationId xmlns:a16="http://schemas.microsoft.com/office/drawing/2014/main" id="{F2620A84-8304-4492-B778-AC53550FA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8600" y="1869401"/>
              <a:ext cx="3917536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Rectangle 6">
              <a:extLst>
                <a:ext uri="{FF2B5EF4-FFF2-40B4-BE49-F238E27FC236}">
                  <a16:creationId xmlns:a16="http://schemas.microsoft.com/office/drawing/2014/main" id="{D1548BC8-BA93-4CBA-BB11-0F6AA43F01E8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794813" y="1970669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chemeClr val="accent1">
                <a:lumMod val="75000"/>
              </a:schemeClr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defRPr/>
              </a:pP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es dossiers d’examen de permis de </a:t>
              </a:r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duire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Rectangle 6">
              <a:extLst>
                <a:ext uri="{FF2B5EF4-FFF2-40B4-BE49-F238E27FC236}">
                  <a16:creationId xmlns:a16="http://schemas.microsoft.com/office/drawing/2014/main" id="{F1228B25-479D-4734-8EC1-A00F7B596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961" y="18694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A813E0D3-5A68-4BCB-A84C-CF225347089D}"/>
                </a:ext>
              </a:extLst>
            </p:cNvPr>
            <p:cNvSpPr/>
            <p:nvPr/>
          </p:nvSpPr>
          <p:spPr>
            <a:xfrm>
              <a:off x="3011790" y="1600200"/>
              <a:ext cx="846082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4B67277B-B4BC-4D0E-A53E-B0EE7EF182D9}"/>
                </a:ext>
              </a:extLst>
            </p:cNvPr>
            <p:cNvSpPr/>
            <p:nvPr/>
          </p:nvSpPr>
          <p:spPr>
            <a:xfrm>
              <a:off x="7240222" y="16002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1" name="Rectangle 6">
              <a:extLst>
                <a:ext uri="{FF2B5EF4-FFF2-40B4-BE49-F238E27FC236}">
                  <a16:creationId xmlns:a16="http://schemas.microsoft.com/office/drawing/2014/main" id="{5BDC79AA-5A54-474E-9C0F-901CBF9BE269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0196081" y="1987434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chemeClr val="accent1">
                <a:lumMod val="75000"/>
              </a:schemeClr>
            </a:solidFill>
            <a:ln w="19050">
              <a:solidFill>
                <a:srgbClr val="FFFF00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endParaRPr lang="fr-MA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es autorisations des moniteurs</a:t>
              </a:r>
              <a:endParaRPr lang="en-US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Rectangle 6">
              <a:extLst>
                <a:ext uri="{FF2B5EF4-FFF2-40B4-BE49-F238E27FC236}">
                  <a16:creationId xmlns:a16="http://schemas.microsoft.com/office/drawing/2014/main" id="{C12EE86A-62E5-433C-95F9-6232549EC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00511" y="18694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BE19B921-2189-4A5F-9C19-CCA716936A31}"/>
                </a:ext>
              </a:extLst>
            </p:cNvPr>
            <p:cNvSpPr/>
            <p:nvPr/>
          </p:nvSpPr>
          <p:spPr>
            <a:xfrm>
              <a:off x="11658772" y="16002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84" name="Rectangle 83"/>
          <p:cNvSpPr/>
          <p:nvPr/>
        </p:nvSpPr>
        <p:spPr>
          <a:xfrm>
            <a:off x="2165588" y="1578204"/>
            <a:ext cx="790906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kern="0" dirty="0" smtClean="0">
                <a:latin typeface="Garamond" panose="02020404030301010803" pitchFamily="18" charset="0"/>
              </a:rPr>
              <a:t>Dématérialisation des différentes opérations relatives à l’Enseignement </a:t>
            </a:r>
          </a:p>
          <a:p>
            <a:r>
              <a:rPr lang="fr-FR" b="1" kern="0" dirty="0" smtClean="0">
                <a:latin typeface="Garamond" panose="02020404030301010803" pitchFamily="18" charset="0"/>
              </a:rPr>
              <a:t>de la Conduite et l’Education à la Sécurité Routière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85" name="Flèche droite 84"/>
          <p:cNvSpPr/>
          <p:nvPr/>
        </p:nvSpPr>
        <p:spPr>
          <a:xfrm>
            <a:off x="1305000" y="1627646"/>
            <a:ext cx="812038" cy="46787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Explosion 1 42"/>
          <p:cNvSpPr/>
          <p:nvPr/>
        </p:nvSpPr>
        <p:spPr>
          <a:xfrm>
            <a:off x="9408922" y="4997923"/>
            <a:ext cx="2782695" cy="1469281"/>
          </a:xfrm>
          <a:prstGeom prst="irregularSeal1">
            <a:avLst/>
          </a:prstGeom>
          <a:solidFill>
            <a:srgbClr val="3E62A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/>
              <a:t>5224 EEC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96078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5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0" y="767798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HOMOLOGATION DES VEHICULES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5</a:t>
            </a:fld>
            <a:endParaRPr lang="en-US" dirty="0"/>
          </a:p>
        </p:txBody>
      </p:sp>
      <p:grpSp>
        <p:nvGrpSpPr>
          <p:cNvPr id="46" name="Groupe 45"/>
          <p:cNvGrpSpPr/>
          <p:nvPr/>
        </p:nvGrpSpPr>
        <p:grpSpPr>
          <a:xfrm>
            <a:off x="1553718" y="2306566"/>
            <a:ext cx="8618931" cy="3547092"/>
            <a:chOff x="1498600" y="1600200"/>
            <a:chExt cx="12708118" cy="3304128"/>
          </a:xfrm>
        </p:grpSpPr>
        <p:sp>
          <p:nvSpPr>
            <p:cNvPr id="64" name="Rectangle 6">
              <a:extLst>
                <a:ext uri="{FF2B5EF4-FFF2-40B4-BE49-F238E27FC236}">
                  <a16:creationId xmlns:a16="http://schemas.microsoft.com/office/drawing/2014/main" id="{83522169-4C5A-47E9-B089-C5B2249C989F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231848" y="3619040"/>
              <a:ext cx="3702206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es audits des professionnels du secteur</a:t>
              </a:r>
            </a:p>
          </p:txBody>
        </p:sp>
        <p:sp>
          <p:nvSpPr>
            <p:cNvPr id="65" name="Rectangle 6">
              <a:extLst>
                <a:ext uri="{FF2B5EF4-FFF2-40B4-BE49-F238E27FC236}">
                  <a16:creationId xmlns:a16="http://schemas.microsoft.com/office/drawing/2014/main" id="{929B550C-7F40-4495-B86B-886AEA2E03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46303" y="3545801"/>
              <a:ext cx="3917536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6" name="Rectangle 6">
              <a:extLst>
                <a:ext uri="{FF2B5EF4-FFF2-40B4-BE49-F238E27FC236}">
                  <a16:creationId xmlns:a16="http://schemas.microsoft.com/office/drawing/2014/main" id="{D0511B83-8215-490D-A4A1-5FDAF584C37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7332779" y="3647069"/>
              <a:ext cx="3880503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lvl="0" algn="ctr">
                <a:defRPr/>
              </a:pPr>
              <a:r>
                <a:rPr lang="fr-MA" sz="1400" b="1" kern="0" dirty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aiement électronique</a:t>
              </a: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Rectangle 6">
              <a:extLst>
                <a:ext uri="{FF2B5EF4-FFF2-40B4-BE49-F238E27FC236}">
                  <a16:creationId xmlns:a16="http://schemas.microsoft.com/office/drawing/2014/main" id="{EC1D4674-FD38-421E-AF71-7796467A6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19926" y="35458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BDDC5068-738A-476D-82C7-9643E66790D5}"/>
                </a:ext>
              </a:extLst>
            </p:cNvPr>
            <p:cNvSpPr/>
            <p:nvPr/>
          </p:nvSpPr>
          <p:spPr>
            <a:xfrm>
              <a:off x="4659492" y="3276600"/>
              <a:ext cx="846082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94D7C3E5-D805-48FD-B5C4-00A540D6C687}"/>
                </a:ext>
              </a:extLst>
            </p:cNvPr>
            <p:cNvSpPr/>
            <p:nvPr/>
          </p:nvSpPr>
          <p:spPr>
            <a:xfrm>
              <a:off x="8898840" y="3256459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fr-FR" sz="1400" b="1" kern="0" dirty="0">
                  <a:solidFill>
                    <a:srgbClr val="263147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kumimoji="0" lang="fr-FR" sz="1400" b="1" i="0" u="none" strike="noStrike" kern="0" cap="none" spc="0" normalizeH="0" baseline="0" noProof="0" dirty="0">
                <a:ln>
                  <a:noFill/>
                </a:ln>
                <a:solidFill>
                  <a:srgbClr val="263147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5" name="Rectangle 6">
              <a:extLst>
                <a:ext uri="{FF2B5EF4-FFF2-40B4-BE49-F238E27FC236}">
                  <a16:creationId xmlns:a16="http://schemas.microsoft.com/office/drawing/2014/main" id="{F6D7D840-5257-4701-86BE-2CC9C752BC7A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589112" y="1970669"/>
              <a:ext cx="3702206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r>
                <a:rPr lang="fr-FR" sz="14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ande </a:t>
              </a: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s demandes d’accréditation</a:t>
              </a:r>
            </a:p>
          </p:txBody>
        </p:sp>
        <p:sp>
          <p:nvSpPr>
            <p:cNvPr id="76" name="Rectangle 6">
              <a:extLst>
                <a:ext uri="{FF2B5EF4-FFF2-40B4-BE49-F238E27FC236}">
                  <a16:creationId xmlns:a16="http://schemas.microsoft.com/office/drawing/2014/main" id="{F2620A84-8304-4492-B778-AC53550FA6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98600" y="1869401"/>
              <a:ext cx="3917536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7" name="Rectangle 6">
              <a:extLst>
                <a:ext uri="{FF2B5EF4-FFF2-40B4-BE49-F238E27FC236}">
                  <a16:creationId xmlns:a16="http://schemas.microsoft.com/office/drawing/2014/main" id="{D1548BC8-BA93-4CBA-BB11-0F6AA43F01E8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5794813" y="1970669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noFill/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mandes d’Homologation en ligne </a:t>
              </a: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8" name="Rectangle 6">
              <a:extLst>
                <a:ext uri="{FF2B5EF4-FFF2-40B4-BE49-F238E27FC236}">
                  <a16:creationId xmlns:a16="http://schemas.microsoft.com/office/drawing/2014/main" id="{F1228B25-479D-4734-8EC1-A00F7B5965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81961" y="18694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9" name="Ellipse 78">
              <a:extLst>
                <a:ext uri="{FF2B5EF4-FFF2-40B4-BE49-F238E27FC236}">
                  <a16:creationId xmlns:a16="http://schemas.microsoft.com/office/drawing/2014/main" id="{A813E0D3-5A68-4BCB-A84C-CF225347089D}"/>
                </a:ext>
              </a:extLst>
            </p:cNvPr>
            <p:cNvSpPr/>
            <p:nvPr/>
          </p:nvSpPr>
          <p:spPr>
            <a:xfrm>
              <a:off x="3011790" y="1600200"/>
              <a:ext cx="846082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80" name="Ellipse 79">
              <a:extLst>
                <a:ext uri="{FF2B5EF4-FFF2-40B4-BE49-F238E27FC236}">
                  <a16:creationId xmlns:a16="http://schemas.microsoft.com/office/drawing/2014/main" id="{4B67277B-B4BC-4D0E-A53E-B0EE7EF182D9}"/>
                </a:ext>
              </a:extLst>
            </p:cNvPr>
            <p:cNvSpPr/>
            <p:nvPr/>
          </p:nvSpPr>
          <p:spPr>
            <a:xfrm>
              <a:off x="7240222" y="16002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81" name="Rectangle 6">
              <a:extLst>
                <a:ext uri="{FF2B5EF4-FFF2-40B4-BE49-F238E27FC236}">
                  <a16:creationId xmlns:a16="http://schemas.microsoft.com/office/drawing/2014/main" id="{5BDC79AA-5A54-474E-9C0F-901CBF9BE269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0196081" y="1987434"/>
              <a:ext cx="3880502" cy="1153531"/>
            </a:xfrm>
            <a:prstGeom prst="roundRect">
              <a:avLst>
                <a:gd name="adj" fmla="val 16734"/>
              </a:avLst>
            </a:prstGeom>
            <a:solidFill>
              <a:srgbClr val="5A93B6"/>
            </a:solidFill>
            <a:ln w="19050">
              <a:solidFill>
                <a:srgbClr val="FFFF00"/>
              </a:solidFill>
              <a:miter lim="800000"/>
              <a:headEnd/>
              <a:tailEnd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36000" rIns="0" bIns="36000" anchor="ctr"/>
            <a:lstStyle/>
            <a:p>
              <a:pPr algn="ctr">
                <a:defRPr/>
              </a:pPr>
              <a:endParaRPr lang="fr-MA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defRPr/>
              </a:pPr>
              <a:r>
                <a:rPr lang="fr-FR" sz="14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stion du processus d’homologation</a:t>
              </a: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fr-FR" sz="14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2" name="Rectangle 6">
              <a:extLst>
                <a:ext uri="{FF2B5EF4-FFF2-40B4-BE49-F238E27FC236}">
                  <a16:creationId xmlns:a16="http://schemas.microsoft.com/office/drawing/2014/main" id="{C12EE86A-62E5-433C-95F9-6232549EC8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100511" y="1869401"/>
              <a:ext cx="4106207" cy="1358527"/>
            </a:xfrm>
            <a:prstGeom prst="roundRect">
              <a:avLst>
                <a:gd name="adj" fmla="val 13129"/>
              </a:avLst>
            </a:prstGeom>
            <a:noFill/>
            <a:ln w="38100">
              <a:solidFill>
                <a:srgbClr val="FFBC1D"/>
              </a:solidFill>
              <a:miter lim="800000"/>
              <a:headEnd/>
              <a:tailEnd/>
            </a:ln>
            <a:effectLst>
              <a:reflection blurRad="6350" stA="52000" endA="300" endPos="35000" dir="5400000" sy="-100000" algn="bl" rotWithShape="0"/>
            </a:effectLst>
          </p:spPr>
          <p:txBody>
            <a:bodyPr lIns="0" tIns="1080000" rIns="0" bIns="36000" anchor="t"/>
            <a:lstStyle/>
            <a:p>
              <a:pPr marL="139700" marR="0" lvl="0" indent="-139700" defTabSz="957756" eaLnBrk="1" fontAlgn="auto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rgbClr val="AC2B37"/>
                </a:buClr>
                <a:buSzTx/>
                <a:buFontTx/>
                <a:buNone/>
                <a:tabLst/>
                <a:defRPr/>
              </a:pPr>
              <a:endParaRPr kumimoji="0" lang="fr-FR" sz="1400" b="0" i="0" u="none" strike="noStrike" kern="0" cap="none" spc="0" normalizeH="0" baseline="0" noProof="0" dirty="0">
                <a:ln>
                  <a:noFill/>
                </a:ln>
                <a:solidFill>
                  <a:srgbClr val="998C85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Ellipse 82">
              <a:extLst>
                <a:ext uri="{FF2B5EF4-FFF2-40B4-BE49-F238E27FC236}">
                  <a16:creationId xmlns:a16="http://schemas.microsoft.com/office/drawing/2014/main" id="{BE19B921-2189-4A5F-9C19-CCA716936A31}"/>
                </a:ext>
              </a:extLst>
            </p:cNvPr>
            <p:cNvSpPr/>
            <p:nvPr/>
          </p:nvSpPr>
          <p:spPr>
            <a:xfrm>
              <a:off x="11658772" y="1600200"/>
              <a:ext cx="804226" cy="406060"/>
            </a:xfrm>
            <a:prstGeom prst="ellipse">
              <a:avLst/>
            </a:prstGeom>
            <a:solidFill>
              <a:srgbClr val="FFBC1D"/>
            </a:solidFill>
            <a:ln w="25400" cap="flat" cmpd="sng" algn="ctr">
              <a:noFill/>
              <a:prstDash val="soli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</p:spPr>
          <p:txBody>
            <a:bodyPr lIns="0" tIns="0" rIns="0" bIns="0" rtlCol="0" anchor="ctr"/>
            <a:lstStyle/>
            <a:p>
              <a:pPr marL="0" marR="0" lvl="0" indent="0" algn="ctr" defTabSz="957756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-FR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263147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</p:grpSp>
      <p:sp>
        <p:nvSpPr>
          <p:cNvPr id="84" name="Rectangle 83"/>
          <p:cNvSpPr/>
          <p:nvPr/>
        </p:nvSpPr>
        <p:spPr>
          <a:xfrm>
            <a:off x="2515224" y="1597475"/>
            <a:ext cx="79090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kern="0" dirty="0" smtClean="0">
                <a:latin typeface="Garamond" panose="02020404030301010803" pitchFamily="18" charset="0"/>
              </a:rPr>
              <a:t>Dématérialisation du processus d’homologation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85" name="Flèche droite 84"/>
          <p:cNvSpPr/>
          <p:nvPr/>
        </p:nvSpPr>
        <p:spPr>
          <a:xfrm>
            <a:off x="1494145" y="1571012"/>
            <a:ext cx="970134" cy="4684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0" name="Image 3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86058" y="770403"/>
            <a:ext cx="2567338" cy="1579903"/>
          </a:xfrm>
          <a:prstGeom prst="rect">
            <a:avLst/>
          </a:prstGeom>
        </p:spPr>
      </p:pic>
      <p:sp>
        <p:nvSpPr>
          <p:cNvPr id="3" name="Explosion 1 2"/>
          <p:cNvSpPr/>
          <p:nvPr/>
        </p:nvSpPr>
        <p:spPr>
          <a:xfrm>
            <a:off x="9025036" y="4549268"/>
            <a:ext cx="2782695" cy="1469281"/>
          </a:xfrm>
          <a:prstGeom prst="irregularSeal1">
            <a:avLst/>
          </a:prstGeom>
          <a:solidFill>
            <a:srgbClr val="5A93B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/>
              <a:t>280 RPT</a:t>
            </a:r>
          </a:p>
          <a:p>
            <a:pPr algn="ctr"/>
            <a:r>
              <a:rPr lang="fr-FR" b="1" dirty="0" smtClean="0"/>
              <a:t>38.000 RTI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414606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DEMATERIALISATION DE LA VISITE MEDICALE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6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834931" y="1726921"/>
            <a:ext cx="8229600" cy="38859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505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tion </a:t>
            </a:r>
            <a:r>
              <a:rPr lang="fr-FR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 délivrance du certificat médical de manière à coordonner l’action de tous les </a:t>
            </a:r>
            <a:r>
              <a:rPr lang="fr-FR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cteurs;</a:t>
            </a:r>
            <a:endParaRPr lang="fr-FR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7505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uivi de l’état de santé des conducteurs que ce soient pour les candidats à l’examen de permis de conduire, les conducteurs âgés de 65 ans et plus ou les conducteurs professionnels .</a:t>
            </a:r>
          </a:p>
          <a:p>
            <a:pPr marL="357505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mettre l’amélioration et l’efficacité de la gouvernance des certificats médicaux d’aptitude à la conduite d’un véhicule</a:t>
            </a:r>
            <a:endParaRPr lang="fr-MA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7" name="Image 3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33557" y="1085900"/>
            <a:ext cx="2721934" cy="1811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2881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7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LATEFORME E-LEARNING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7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798916" y="1824399"/>
            <a:ext cx="10371785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505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 mise en place de la plateforme 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gitale de formation des candidats pour </a:t>
            </a: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’obtention du permis de 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nduire</a:t>
            </a:r>
          </a:p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estion </a:t>
            </a: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t support de formation (automatisé + MAJ)</a:t>
            </a:r>
          </a:p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réation d’une synergie </a:t>
            </a: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ntre les 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ifférents acteurs </a:t>
            </a: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u secteur pour moderniser et mettre à</a:t>
            </a:r>
            <a:b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our leurs activités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474918" y="5362113"/>
            <a:ext cx="790906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800" b="1" kern="0" dirty="0" smtClean="0">
                <a:latin typeface="Garamond" panose="02020404030301010803" pitchFamily="18" charset="0"/>
              </a:rPr>
              <a:t>Mise en ligne la 1</a:t>
            </a:r>
            <a:r>
              <a:rPr lang="fr-FR" sz="2800" b="1" kern="0" baseline="30000" dirty="0" smtClean="0">
                <a:latin typeface="Garamond" panose="02020404030301010803" pitchFamily="18" charset="0"/>
              </a:rPr>
              <a:t>ère</a:t>
            </a:r>
            <a:r>
              <a:rPr lang="fr-FR" sz="2800" b="1" kern="0" dirty="0" smtClean="0">
                <a:latin typeface="Garamond" panose="02020404030301010803" pitchFamily="18" charset="0"/>
              </a:rPr>
              <a:t> semaine d’octobre</a:t>
            </a:r>
            <a:endParaRPr lang="en-US" sz="2800" dirty="0">
              <a:latin typeface="Garamond" panose="02020404030301010803" pitchFamily="18" charset="0"/>
            </a:endParaRPr>
          </a:p>
        </p:txBody>
      </p:sp>
      <p:sp>
        <p:nvSpPr>
          <p:cNvPr id="20" name="Flèche droite 19"/>
          <p:cNvSpPr/>
          <p:nvPr/>
        </p:nvSpPr>
        <p:spPr>
          <a:xfrm>
            <a:off x="2453839" y="5377556"/>
            <a:ext cx="970134" cy="54968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Explosion 1 2"/>
          <p:cNvSpPr/>
          <p:nvPr/>
        </p:nvSpPr>
        <p:spPr>
          <a:xfrm>
            <a:off x="8031179" y="2465428"/>
            <a:ext cx="3352800" cy="1278467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2400" b="1" dirty="0" smtClean="0"/>
              <a:t>730.000 Candidats</a:t>
            </a:r>
            <a:endParaRPr lang="fr-FR" sz="2400" b="1" dirty="0"/>
          </a:p>
        </p:txBody>
      </p:sp>
    </p:spTree>
    <p:extLst>
      <p:ext uri="{BB962C8B-B14F-4D97-AF65-F5344CB8AC3E}">
        <p14:creationId xmlns:p14="http://schemas.microsoft.com/office/powerpoint/2010/main" val="2833758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8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LATEFORME E-LEARNING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8</a:t>
            </a:fld>
            <a:endParaRPr lang="en-US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7230" y="1503447"/>
            <a:ext cx="9005777" cy="5065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911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19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LATEFORME E-LEARNING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19</a:t>
            </a:fld>
            <a:endParaRPr lang="en-US" dirty="0"/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572" y="1576933"/>
            <a:ext cx="8904714" cy="4997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117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e 2"/>
          <p:cNvGrpSpPr/>
          <p:nvPr/>
        </p:nvGrpSpPr>
        <p:grpSpPr>
          <a:xfrm>
            <a:off x="1727707" y="422225"/>
            <a:ext cx="10464294" cy="6081824"/>
            <a:chOff x="107949" y="1"/>
            <a:chExt cx="11866167" cy="685800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BBDCC75-D59D-4995-8A87-ABD2C9BA4578}"/>
                </a:ext>
              </a:extLst>
            </p:cNvPr>
            <p:cNvGrpSpPr/>
            <p:nvPr/>
          </p:nvGrpSpPr>
          <p:grpSpPr>
            <a:xfrm>
              <a:off x="426508" y="1"/>
              <a:ext cx="9926659" cy="6858000"/>
              <a:chOff x="4549775" y="1466850"/>
              <a:chExt cx="3092450" cy="392271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D1A724F6-CC61-4EAF-B004-6F02D61BF5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9775" y="1466850"/>
                <a:ext cx="3092450" cy="3922713"/>
              </a:xfrm>
              <a:custGeom>
                <a:avLst/>
                <a:gdLst>
                  <a:gd name="T0" fmla="*/ 1387 w 4410"/>
                  <a:gd name="T1" fmla="*/ 2798 h 2798"/>
                  <a:gd name="T2" fmla="*/ 2876 w 4410"/>
                  <a:gd name="T3" fmla="*/ 2392 h 2798"/>
                  <a:gd name="T4" fmla="*/ 3712 w 4410"/>
                  <a:gd name="T5" fmla="*/ 1825 h 2798"/>
                  <a:gd name="T6" fmla="*/ 2634 w 4410"/>
                  <a:gd name="T7" fmla="*/ 1144 h 2798"/>
                  <a:gd name="T8" fmla="*/ 3364 w 4410"/>
                  <a:gd name="T9" fmla="*/ 921 h 2798"/>
                  <a:gd name="T10" fmla="*/ 4107 w 4410"/>
                  <a:gd name="T11" fmla="*/ 631 h 2798"/>
                  <a:gd name="T12" fmla="*/ 3500 w 4410"/>
                  <a:gd name="T13" fmla="*/ 372 h 2798"/>
                  <a:gd name="T14" fmla="*/ 3802 w 4410"/>
                  <a:gd name="T15" fmla="*/ 184 h 2798"/>
                  <a:gd name="T16" fmla="*/ 4410 w 4410"/>
                  <a:gd name="T17" fmla="*/ 0 h 2798"/>
                  <a:gd name="T18" fmla="*/ 4066 w 4410"/>
                  <a:gd name="T19" fmla="*/ 0 h 2798"/>
                  <a:gd name="T20" fmla="*/ 2835 w 4410"/>
                  <a:gd name="T21" fmla="*/ 306 h 2798"/>
                  <a:gd name="T22" fmla="*/ 3594 w 4410"/>
                  <a:gd name="T23" fmla="*/ 621 h 2798"/>
                  <a:gd name="T24" fmla="*/ 1949 w 4410"/>
                  <a:gd name="T25" fmla="*/ 1104 h 2798"/>
                  <a:gd name="T26" fmla="*/ 1939 w 4410"/>
                  <a:gd name="T27" fmla="*/ 1191 h 2798"/>
                  <a:gd name="T28" fmla="*/ 2829 w 4410"/>
                  <a:gd name="T29" fmla="*/ 1822 h 2798"/>
                  <a:gd name="T30" fmla="*/ 1136 w 4410"/>
                  <a:gd name="T31" fmla="*/ 2243 h 2798"/>
                  <a:gd name="T32" fmla="*/ 0 w 4410"/>
                  <a:gd name="T33" fmla="*/ 2685 h 2798"/>
                  <a:gd name="T34" fmla="*/ 0 w 4410"/>
                  <a:gd name="T35" fmla="*/ 2798 h 2798"/>
                  <a:gd name="T36" fmla="*/ 1387 w 4410"/>
                  <a:gd name="T37" fmla="*/ 2798 h 27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4410" h="2798">
                    <a:moveTo>
                      <a:pt x="1387" y="2798"/>
                    </a:moveTo>
                    <a:cubicBezTo>
                      <a:pt x="1590" y="2615"/>
                      <a:pt x="2359" y="2534"/>
                      <a:pt x="2876" y="2392"/>
                    </a:cubicBezTo>
                    <a:cubicBezTo>
                      <a:pt x="3505" y="2220"/>
                      <a:pt x="3693" y="2022"/>
                      <a:pt x="3712" y="1825"/>
                    </a:cubicBezTo>
                    <a:cubicBezTo>
                      <a:pt x="3765" y="1299"/>
                      <a:pt x="2623" y="1305"/>
                      <a:pt x="2634" y="1144"/>
                    </a:cubicBezTo>
                    <a:cubicBezTo>
                      <a:pt x="2644" y="1007"/>
                      <a:pt x="3129" y="948"/>
                      <a:pt x="3364" y="921"/>
                    </a:cubicBezTo>
                    <a:cubicBezTo>
                      <a:pt x="3739" y="879"/>
                      <a:pt x="4086" y="784"/>
                      <a:pt x="4107" y="631"/>
                    </a:cubicBezTo>
                    <a:cubicBezTo>
                      <a:pt x="4143" y="377"/>
                      <a:pt x="3608" y="403"/>
                      <a:pt x="3500" y="372"/>
                    </a:cubicBezTo>
                    <a:cubicBezTo>
                      <a:pt x="3181" y="282"/>
                      <a:pt x="3396" y="234"/>
                      <a:pt x="3802" y="184"/>
                    </a:cubicBezTo>
                    <a:cubicBezTo>
                      <a:pt x="4172" y="138"/>
                      <a:pt x="4365" y="106"/>
                      <a:pt x="4410" y="0"/>
                    </a:cubicBezTo>
                    <a:cubicBezTo>
                      <a:pt x="4066" y="0"/>
                      <a:pt x="4066" y="0"/>
                      <a:pt x="4066" y="0"/>
                    </a:cubicBezTo>
                    <a:cubicBezTo>
                      <a:pt x="3945" y="129"/>
                      <a:pt x="2829" y="68"/>
                      <a:pt x="2835" y="306"/>
                    </a:cubicBezTo>
                    <a:cubicBezTo>
                      <a:pt x="2839" y="481"/>
                      <a:pt x="3599" y="506"/>
                      <a:pt x="3594" y="621"/>
                    </a:cubicBezTo>
                    <a:cubicBezTo>
                      <a:pt x="3587" y="771"/>
                      <a:pt x="2144" y="733"/>
                      <a:pt x="1949" y="1104"/>
                    </a:cubicBezTo>
                    <a:cubicBezTo>
                      <a:pt x="1934" y="1133"/>
                      <a:pt x="1938" y="1156"/>
                      <a:pt x="1939" y="1191"/>
                    </a:cubicBezTo>
                    <a:cubicBezTo>
                      <a:pt x="1952" y="1468"/>
                      <a:pt x="2882" y="1583"/>
                      <a:pt x="2829" y="1822"/>
                    </a:cubicBezTo>
                    <a:cubicBezTo>
                      <a:pt x="2783" y="2029"/>
                      <a:pt x="2384" y="1941"/>
                      <a:pt x="1136" y="2243"/>
                    </a:cubicBezTo>
                    <a:cubicBezTo>
                      <a:pt x="939" y="2291"/>
                      <a:pt x="246" y="2452"/>
                      <a:pt x="0" y="2685"/>
                    </a:cubicBezTo>
                    <a:cubicBezTo>
                      <a:pt x="0" y="2798"/>
                      <a:pt x="0" y="2798"/>
                      <a:pt x="0" y="2798"/>
                    </a:cubicBezTo>
                    <a:lnTo>
                      <a:pt x="1387" y="279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id="{987A8BD2-51F0-4E4F-B22A-0FB2D65078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9775" y="1466850"/>
                <a:ext cx="3081338" cy="3763963"/>
              </a:xfrm>
              <a:custGeom>
                <a:avLst/>
                <a:gdLst>
                  <a:gd name="T0" fmla="*/ 1387 w 4395"/>
                  <a:gd name="T1" fmla="*/ 2685 h 2685"/>
                  <a:gd name="T2" fmla="*/ 2876 w 4395"/>
                  <a:gd name="T3" fmla="*/ 2292 h 2685"/>
                  <a:gd name="T4" fmla="*/ 3712 w 4395"/>
                  <a:gd name="T5" fmla="*/ 1742 h 2685"/>
                  <a:gd name="T6" fmla="*/ 2634 w 4395"/>
                  <a:gd name="T7" fmla="*/ 1082 h 2685"/>
                  <a:gd name="T8" fmla="*/ 3364 w 4395"/>
                  <a:gd name="T9" fmla="*/ 866 h 2685"/>
                  <a:gd name="T10" fmla="*/ 4107 w 4395"/>
                  <a:gd name="T11" fmla="*/ 585 h 2685"/>
                  <a:gd name="T12" fmla="*/ 3500 w 4395"/>
                  <a:gd name="T13" fmla="*/ 334 h 2685"/>
                  <a:gd name="T14" fmla="*/ 3802 w 4395"/>
                  <a:gd name="T15" fmla="*/ 152 h 2685"/>
                  <a:gd name="T16" fmla="*/ 4395 w 4395"/>
                  <a:gd name="T17" fmla="*/ 0 h 2685"/>
                  <a:gd name="T18" fmla="*/ 4033 w 4395"/>
                  <a:gd name="T19" fmla="*/ 0 h 2685"/>
                  <a:gd name="T20" fmla="*/ 2840 w 4395"/>
                  <a:gd name="T21" fmla="*/ 270 h 2685"/>
                  <a:gd name="T22" fmla="*/ 3594 w 4395"/>
                  <a:gd name="T23" fmla="*/ 575 h 2685"/>
                  <a:gd name="T24" fmla="*/ 1940 w 4395"/>
                  <a:gd name="T25" fmla="*/ 1122 h 2685"/>
                  <a:gd name="T26" fmla="*/ 2829 w 4395"/>
                  <a:gd name="T27" fmla="*/ 1739 h 2685"/>
                  <a:gd name="T28" fmla="*/ 1136 w 4395"/>
                  <a:gd name="T29" fmla="*/ 2147 h 2685"/>
                  <a:gd name="T30" fmla="*/ 0 w 4395"/>
                  <a:gd name="T31" fmla="*/ 2685 h 2685"/>
                  <a:gd name="T32" fmla="*/ 1387 w 4395"/>
                  <a:gd name="T33" fmla="*/ 2685 h 26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95" h="2685">
                    <a:moveTo>
                      <a:pt x="1387" y="2685"/>
                    </a:moveTo>
                    <a:cubicBezTo>
                      <a:pt x="1590" y="2508"/>
                      <a:pt x="2359" y="2429"/>
                      <a:pt x="2876" y="2292"/>
                    </a:cubicBezTo>
                    <a:cubicBezTo>
                      <a:pt x="3505" y="2125"/>
                      <a:pt x="3714" y="1934"/>
                      <a:pt x="3712" y="1742"/>
                    </a:cubicBezTo>
                    <a:cubicBezTo>
                      <a:pt x="3708" y="1359"/>
                      <a:pt x="2623" y="1238"/>
                      <a:pt x="2634" y="1082"/>
                    </a:cubicBezTo>
                    <a:cubicBezTo>
                      <a:pt x="2644" y="949"/>
                      <a:pt x="3129" y="892"/>
                      <a:pt x="3364" y="866"/>
                    </a:cubicBezTo>
                    <a:cubicBezTo>
                      <a:pt x="3739" y="825"/>
                      <a:pt x="4110" y="735"/>
                      <a:pt x="4107" y="585"/>
                    </a:cubicBezTo>
                    <a:cubicBezTo>
                      <a:pt x="4104" y="397"/>
                      <a:pt x="3608" y="364"/>
                      <a:pt x="3500" y="334"/>
                    </a:cubicBezTo>
                    <a:cubicBezTo>
                      <a:pt x="3181" y="247"/>
                      <a:pt x="3396" y="202"/>
                      <a:pt x="3802" y="152"/>
                    </a:cubicBezTo>
                    <a:cubicBezTo>
                      <a:pt x="4266" y="94"/>
                      <a:pt x="4362" y="62"/>
                      <a:pt x="4395" y="0"/>
                    </a:cubicBezTo>
                    <a:cubicBezTo>
                      <a:pt x="4033" y="0"/>
                      <a:pt x="4033" y="0"/>
                      <a:pt x="4033" y="0"/>
                    </a:cubicBezTo>
                    <a:cubicBezTo>
                      <a:pt x="3907" y="77"/>
                      <a:pt x="2921" y="89"/>
                      <a:pt x="2840" y="270"/>
                    </a:cubicBezTo>
                    <a:cubicBezTo>
                      <a:pt x="2773" y="419"/>
                      <a:pt x="3599" y="464"/>
                      <a:pt x="3594" y="575"/>
                    </a:cubicBezTo>
                    <a:cubicBezTo>
                      <a:pt x="3585" y="751"/>
                      <a:pt x="2014" y="702"/>
                      <a:pt x="1940" y="1122"/>
                    </a:cubicBezTo>
                    <a:cubicBezTo>
                      <a:pt x="1893" y="1387"/>
                      <a:pt x="2882" y="1508"/>
                      <a:pt x="2829" y="1739"/>
                    </a:cubicBezTo>
                    <a:cubicBezTo>
                      <a:pt x="2783" y="1940"/>
                      <a:pt x="2384" y="1854"/>
                      <a:pt x="1136" y="2147"/>
                    </a:cubicBezTo>
                    <a:cubicBezTo>
                      <a:pt x="907" y="2200"/>
                      <a:pt x="169" y="2442"/>
                      <a:pt x="0" y="2685"/>
                    </a:cubicBezTo>
                    <a:lnTo>
                      <a:pt x="1387" y="2685"/>
                    </a:lnTo>
                    <a:close/>
                  </a:path>
                </a:pathLst>
              </a:custGeom>
              <a:solidFill>
                <a:schemeClr val="tx1">
                  <a:lumMod val="90000"/>
                  <a:lumOff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2" name="Groupe 1"/>
            <p:cNvGrpSpPr/>
            <p:nvPr/>
          </p:nvGrpSpPr>
          <p:grpSpPr>
            <a:xfrm>
              <a:off x="107949" y="67734"/>
              <a:ext cx="11866167" cy="6701367"/>
              <a:chOff x="107949" y="67734"/>
              <a:chExt cx="11866167" cy="6701367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1CD51FE4-1BE9-4725-8C5E-D585E86C49EB}"/>
                  </a:ext>
                </a:extLst>
              </p:cNvPr>
              <p:cNvGrpSpPr/>
              <p:nvPr/>
            </p:nvGrpSpPr>
            <p:grpSpPr>
              <a:xfrm>
                <a:off x="1916621" y="3860755"/>
                <a:ext cx="1462984" cy="2261827"/>
                <a:chOff x="7478257" y="2193205"/>
                <a:chExt cx="452893" cy="700189"/>
              </a:xfrm>
            </p:grpSpPr>
            <p:sp>
              <p:nvSpPr>
                <p:cNvPr id="11" name="Oval 10">
                  <a:extLst>
                    <a:ext uri="{FF2B5EF4-FFF2-40B4-BE49-F238E27FC236}">
                      <a16:creationId xmlns:a16="http://schemas.microsoft.com/office/drawing/2014/main" id="{AC61A92C-7461-488B-B685-D8503D3CD944}"/>
                    </a:ext>
                  </a:extLst>
                </p:cNvPr>
                <p:cNvSpPr/>
                <p:nvPr/>
              </p:nvSpPr>
              <p:spPr>
                <a:xfrm>
                  <a:off x="7478257" y="2786413"/>
                  <a:ext cx="452893" cy="106981"/>
                </a:xfrm>
                <a:prstGeom prst="ellipse">
                  <a:avLst/>
                </a:prstGeom>
                <a:solidFill>
                  <a:schemeClr val="tx2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  <p:sp>
              <p:nvSpPr>
                <p:cNvPr id="12" name="Freeform 17">
                  <a:extLst>
                    <a:ext uri="{FF2B5EF4-FFF2-40B4-BE49-F238E27FC236}">
                      <a16:creationId xmlns:a16="http://schemas.microsoft.com/office/drawing/2014/main" id="{EAFE7348-1270-48F4-B06C-3337B907A18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78257" y="2193205"/>
                  <a:ext cx="452893" cy="646699"/>
                </a:xfrm>
                <a:custGeom>
                  <a:avLst/>
                  <a:gdLst>
                    <a:gd name="T0" fmla="*/ 214 w 221"/>
                    <a:gd name="T1" fmla="*/ 77 h 315"/>
                    <a:gd name="T2" fmla="*/ 164 w 221"/>
                    <a:gd name="T3" fmla="*/ 14 h 315"/>
                    <a:gd name="T4" fmla="*/ 110 w 221"/>
                    <a:gd name="T5" fmla="*/ 0 h 315"/>
                    <a:gd name="T6" fmla="*/ 110 w 221"/>
                    <a:gd name="T7" fmla="*/ 0 h 315"/>
                    <a:gd name="T8" fmla="*/ 56 w 221"/>
                    <a:gd name="T9" fmla="*/ 14 h 315"/>
                    <a:gd name="T10" fmla="*/ 6 w 221"/>
                    <a:gd name="T11" fmla="*/ 77 h 315"/>
                    <a:gd name="T12" fmla="*/ 5 w 221"/>
                    <a:gd name="T13" fmla="*/ 132 h 315"/>
                    <a:gd name="T14" fmla="*/ 40 w 221"/>
                    <a:gd name="T15" fmla="*/ 208 h 315"/>
                    <a:gd name="T16" fmla="*/ 94 w 221"/>
                    <a:gd name="T17" fmla="*/ 292 h 315"/>
                    <a:gd name="T18" fmla="*/ 110 w 221"/>
                    <a:gd name="T19" fmla="*/ 315 h 315"/>
                    <a:gd name="T20" fmla="*/ 110 w 221"/>
                    <a:gd name="T21" fmla="*/ 315 h 315"/>
                    <a:gd name="T22" fmla="*/ 126 w 221"/>
                    <a:gd name="T23" fmla="*/ 292 h 315"/>
                    <a:gd name="T24" fmla="*/ 180 w 221"/>
                    <a:gd name="T25" fmla="*/ 208 h 315"/>
                    <a:gd name="T26" fmla="*/ 215 w 221"/>
                    <a:gd name="T27" fmla="*/ 132 h 315"/>
                    <a:gd name="T28" fmla="*/ 214 w 221"/>
                    <a:gd name="T29" fmla="*/ 77 h 315"/>
                    <a:gd name="T30" fmla="*/ 110 w 221"/>
                    <a:gd name="T31" fmla="*/ 174 h 315"/>
                    <a:gd name="T32" fmla="*/ 110 w 221"/>
                    <a:gd name="T33" fmla="*/ 174 h 315"/>
                    <a:gd name="T34" fmla="*/ 110 w 221"/>
                    <a:gd name="T35" fmla="*/ 174 h 315"/>
                    <a:gd name="T36" fmla="*/ 44 w 221"/>
                    <a:gd name="T37" fmla="*/ 108 h 315"/>
                    <a:gd name="T38" fmla="*/ 110 w 221"/>
                    <a:gd name="T39" fmla="*/ 42 h 315"/>
                    <a:gd name="T40" fmla="*/ 110 w 221"/>
                    <a:gd name="T41" fmla="*/ 42 h 315"/>
                    <a:gd name="T42" fmla="*/ 110 w 221"/>
                    <a:gd name="T43" fmla="*/ 42 h 315"/>
                    <a:gd name="T44" fmla="*/ 176 w 221"/>
                    <a:gd name="T45" fmla="*/ 108 h 315"/>
                    <a:gd name="T46" fmla="*/ 110 w 221"/>
                    <a:gd name="T47" fmla="*/ 174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21" h="315">
                      <a:moveTo>
                        <a:pt x="214" y="77"/>
                      </a:moveTo>
                      <a:cubicBezTo>
                        <a:pt x="206" y="50"/>
                        <a:pt x="189" y="29"/>
                        <a:pt x="164" y="14"/>
                      </a:cubicBezTo>
                      <a:cubicBezTo>
                        <a:pt x="147" y="4"/>
                        <a:pt x="129" y="0"/>
                        <a:pt x="110" y="0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91" y="0"/>
                        <a:pt x="73" y="4"/>
                        <a:pt x="56" y="14"/>
                      </a:cubicBezTo>
                      <a:cubicBezTo>
                        <a:pt x="31" y="29"/>
                        <a:pt x="15" y="50"/>
                        <a:pt x="6" y="77"/>
                      </a:cubicBezTo>
                      <a:cubicBezTo>
                        <a:pt x="1" y="95"/>
                        <a:pt x="0" y="114"/>
                        <a:pt x="5" y="132"/>
                      </a:cubicBezTo>
                      <a:cubicBezTo>
                        <a:pt x="13" y="159"/>
                        <a:pt x="26" y="184"/>
                        <a:pt x="40" y="208"/>
                      </a:cubicBezTo>
                      <a:cubicBezTo>
                        <a:pt x="58" y="237"/>
                        <a:pt x="76" y="264"/>
                        <a:pt x="94" y="292"/>
                      </a:cubicBezTo>
                      <a:cubicBezTo>
                        <a:pt x="99" y="300"/>
                        <a:pt x="104" y="307"/>
                        <a:pt x="110" y="315"/>
                      </a:cubicBezTo>
                      <a:cubicBezTo>
                        <a:pt x="110" y="315"/>
                        <a:pt x="110" y="315"/>
                        <a:pt x="110" y="315"/>
                      </a:cubicBezTo>
                      <a:cubicBezTo>
                        <a:pt x="116" y="307"/>
                        <a:pt x="121" y="300"/>
                        <a:pt x="126" y="292"/>
                      </a:cubicBezTo>
                      <a:cubicBezTo>
                        <a:pt x="144" y="264"/>
                        <a:pt x="163" y="237"/>
                        <a:pt x="180" y="208"/>
                      </a:cubicBezTo>
                      <a:cubicBezTo>
                        <a:pt x="194" y="184"/>
                        <a:pt x="207" y="159"/>
                        <a:pt x="215" y="132"/>
                      </a:cubicBezTo>
                      <a:cubicBezTo>
                        <a:pt x="221" y="114"/>
                        <a:pt x="220" y="95"/>
                        <a:pt x="214" y="77"/>
                      </a:cubicBezTo>
                      <a:close/>
                      <a:moveTo>
                        <a:pt x="110" y="174"/>
                      </a:move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74" y="174"/>
                        <a:pt x="44" y="145"/>
                        <a:pt x="44" y="108"/>
                      </a:cubicBezTo>
                      <a:cubicBezTo>
                        <a:pt x="44" y="72"/>
                        <a:pt x="74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47" y="42"/>
                        <a:pt x="176" y="72"/>
                        <a:pt x="176" y="108"/>
                      </a:cubicBezTo>
                      <a:cubicBezTo>
                        <a:pt x="176" y="145"/>
                        <a:pt x="147" y="174"/>
                        <a:pt x="110" y="17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043ABD47-F9C4-4180-B251-BA5EA328BD7A}"/>
                  </a:ext>
                </a:extLst>
              </p:cNvPr>
              <p:cNvGrpSpPr/>
              <p:nvPr/>
            </p:nvGrpSpPr>
            <p:grpSpPr>
              <a:xfrm>
                <a:off x="107949" y="67734"/>
                <a:ext cx="10839451" cy="6701367"/>
                <a:chOff x="2943225" y="38100"/>
                <a:chExt cx="6305550" cy="6818313"/>
              </a:xfrm>
              <a:solidFill>
                <a:schemeClr val="bg1"/>
              </a:solidFill>
            </p:grpSpPr>
            <p:sp>
              <p:nvSpPr>
                <p:cNvPr id="103" name="Freeform 86">
                  <a:extLst>
                    <a:ext uri="{FF2B5EF4-FFF2-40B4-BE49-F238E27FC236}">
                      <a16:creationId xmlns:a16="http://schemas.microsoft.com/office/drawing/2014/main" id="{80F0C35D-6EE0-4A50-A875-08A1FCAEBA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3225" y="6856413"/>
                  <a:ext cx="6305550" cy="0"/>
                </a:xfrm>
                <a:custGeom>
                  <a:avLst/>
                  <a:gdLst>
                    <a:gd name="T0" fmla="*/ 0 w 15350"/>
                    <a:gd name="T1" fmla="*/ 15350 w 15350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</a:cxnLst>
                  <a:rect l="0" t="0" r="r" b="b"/>
                  <a:pathLst>
                    <a:path w="15350">
                      <a:moveTo>
                        <a:pt x="0" y="0"/>
                      </a:moveTo>
                      <a:cubicBezTo>
                        <a:pt x="5120" y="0"/>
                        <a:pt x="10235" y="0"/>
                        <a:pt x="15350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4" name="Freeform 89">
                  <a:extLst>
                    <a:ext uri="{FF2B5EF4-FFF2-40B4-BE49-F238E27FC236}">
                      <a16:creationId xmlns:a16="http://schemas.microsoft.com/office/drawing/2014/main" id="{A154FF12-18DB-454D-AEBB-AEE97A349C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10325" y="5073650"/>
                  <a:ext cx="330200" cy="195263"/>
                </a:xfrm>
                <a:custGeom>
                  <a:avLst/>
                  <a:gdLst>
                    <a:gd name="T0" fmla="*/ 15 w 803"/>
                    <a:gd name="T1" fmla="*/ 238 h 238"/>
                    <a:gd name="T2" fmla="*/ 0 w 803"/>
                    <a:gd name="T3" fmla="*/ 176 h 238"/>
                    <a:gd name="T4" fmla="*/ 789 w 803"/>
                    <a:gd name="T5" fmla="*/ 0 h 238"/>
                    <a:gd name="T6" fmla="*/ 803 w 803"/>
                    <a:gd name="T7" fmla="*/ 56 h 238"/>
                    <a:gd name="T8" fmla="*/ 15 w 803"/>
                    <a:gd name="T9" fmla="*/ 238 h 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03" h="238">
                      <a:moveTo>
                        <a:pt x="15" y="238"/>
                      </a:moveTo>
                      <a:cubicBezTo>
                        <a:pt x="10" y="218"/>
                        <a:pt x="5" y="199"/>
                        <a:pt x="0" y="176"/>
                      </a:cubicBezTo>
                      <a:cubicBezTo>
                        <a:pt x="264" y="117"/>
                        <a:pt x="525" y="59"/>
                        <a:pt x="789" y="0"/>
                      </a:cubicBezTo>
                      <a:cubicBezTo>
                        <a:pt x="795" y="22"/>
                        <a:pt x="799" y="40"/>
                        <a:pt x="803" y="56"/>
                      </a:cubicBezTo>
                      <a:cubicBezTo>
                        <a:pt x="769" y="77"/>
                        <a:pt x="175" y="214"/>
                        <a:pt x="15" y="23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5" name="Freeform 90">
                  <a:extLst>
                    <a:ext uri="{FF2B5EF4-FFF2-40B4-BE49-F238E27FC236}">
                      <a16:creationId xmlns:a16="http://schemas.microsoft.com/office/drawing/2014/main" id="{34BE5A1F-E8DD-4233-81A0-9CD1CD1228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848350" y="5321300"/>
                  <a:ext cx="330200" cy="184150"/>
                </a:xfrm>
                <a:custGeom>
                  <a:avLst/>
                  <a:gdLst>
                    <a:gd name="T0" fmla="*/ 792 w 804"/>
                    <a:gd name="T1" fmla="*/ 4 h 224"/>
                    <a:gd name="T2" fmla="*/ 804 w 804"/>
                    <a:gd name="T3" fmla="*/ 61 h 224"/>
                    <a:gd name="T4" fmla="*/ 13 w 804"/>
                    <a:gd name="T5" fmla="*/ 224 h 224"/>
                    <a:gd name="T6" fmla="*/ 2 w 804"/>
                    <a:gd name="T7" fmla="*/ 184 h 224"/>
                    <a:gd name="T8" fmla="*/ 0 w 804"/>
                    <a:gd name="T9" fmla="*/ 166 h 224"/>
                    <a:gd name="T10" fmla="*/ 792 w 804"/>
                    <a:gd name="T11" fmla="*/ 4 h 2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04" h="224">
                      <a:moveTo>
                        <a:pt x="792" y="4"/>
                      </a:moveTo>
                      <a:cubicBezTo>
                        <a:pt x="795" y="20"/>
                        <a:pt x="799" y="38"/>
                        <a:pt x="804" y="61"/>
                      </a:cubicBezTo>
                      <a:cubicBezTo>
                        <a:pt x="539" y="118"/>
                        <a:pt x="277" y="171"/>
                        <a:pt x="13" y="224"/>
                      </a:cubicBezTo>
                      <a:cubicBezTo>
                        <a:pt x="8" y="207"/>
                        <a:pt x="4" y="196"/>
                        <a:pt x="2" y="184"/>
                      </a:cubicBezTo>
                      <a:cubicBezTo>
                        <a:pt x="0" y="178"/>
                        <a:pt x="1" y="171"/>
                        <a:pt x="0" y="166"/>
                      </a:cubicBezTo>
                      <a:cubicBezTo>
                        <a:pt x="32" y="149"/>
                        <a:pt x="757" y="0"/>
                        <a:pt x="792" y="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6" name="Freeform 91">
                  <a:extLst>
                    <a:ext uri="{FF2B5EF4-FFF2-40B4-BE49-F238E27FC236}">
                      <a16:creationId xmlns:a16="http://schemas.microsoft.com/office/drawing/2014/main" id="{BCA7B6DD-0A17-41FC-AD03-599FCDDF3E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86375" y="5554663"/>
                  <a:ext cx="331788" cy="204788"/>
                </a:xfrm>
                <a:custGeom>
                  <a:avLst/>
                  <a:gdLst>
                    <a:gd name="T0" fmla="*/ 781 w 807"/>
                    <a:gd name="T1" fmla="*/ 0 h 250"/>
                    <a:gd name="T2" fmla="*/ 790 w 807"/>
                    <a:gd name="T3" fmla="*/ 12 h 250"/>
                    <a:gd name="T4" fmla="*/ 758 w 807"/>
                    <a:gd name="T5" fmla="*/ 75 h 250"/>
                    <a:gd name="T6" fmla="*/ 56 w 807"/>
                    <a:gd name="T7" fmla="*/ 244 h 250"/>
                    <a:gd name="T8" fmla="*/ 17 w 807"/>
                    <a:gd name="T9" fmla="*/ 250 h 250"/>
                    <a:gd name="T10" fmla="*/ 0 w 807"/>
                    <a:gd name="T11" fmla="*/ 189 h 250"/>
                    <a:gd name="T12" fmla="*/ 781 w 807"/>
                    <a:gd name="T13" fmla="*/ 0 h 2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07" h="250">
                      <a:moveTo>
                        <a:pt x="781" y="0"/>
                      </a:moveTo>
                      <a:cubicBezTo>
                        <a:pt x="787" y="8"/>
                        <a:pt x="789" y="10"/>
                        <a:pt x="790" y="12"/>
                      </a:cubicBezTo>
                      <a:cubicBezTo>
                        <a:pt x="807" y="59"/>
                        <a:pt x="805" y="63"/>
                        <a:pt x="758" y="75"/>
                      </a:cubicBezTo>
                      <a:cubicBezTo>
                        <a:pt x="524" y="131"/>
                        <a:pt x="290" y="188"/>
                        <a:pt x="56" y="244"/>
                      </a:cubicBezTo>
                      <a:cubicBezTo>
                        <a:pt x="44" y="247"/>
                        <a:pt x="33" y="248"/>
                        <a:pt x="17" y="250"/>
                      </a:cubicBezTo>
                      <a:cubicBezTo>
                        <a:pt x="11" y="231"/>
                        <a:pt x="6" y="212"/>
                        <a:pt x="0" y="189"/>
                      </a:cubicBezTo>
                      <a:cubicBezTo>
                        <a:pt x="261" y="120"/>
                        <a:pt x="521" y="58"/>
                        <a:pt x="78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7" name="Freeform 92">
                  <a:extLst>
                    <a:ext uri="{FF2B5EF4-FFF2-40B4-BE49-F238E27FC236}">
                      <a16:creationId xmlns:a16="http://schemas.microsoft.com/office/drawing/2014/main" id="{87492318-48DD-4AF8-B833-3865E380FF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69125" y="4754563"/>
                  <a:ext cx="323850" cy="255588"/>
                </a:xfrm>
                <a:custGeom>
                  <a:avLst/>
                  <a:gdLst>
                    <a:gd name="T0" fmla="*/ 765 w 790"/>
                    <a:gd name="T1" fmla="*/ 0 h 311"/>
                    <a:gd name="T2" fmla="*/ 790 w 790"/>
                    <a:gd name="T3" fmla="*/ 58 h 311"/>
                    <a:gd name="T4" fmla="*/ 749 w 790"/>
                    <a:gd name="T5" fmla="*/ 78 h 311"/>
                    <a:gd name="T6" fmla="*/ 200 w 790"/>
                    <a:gd name="T7" fmla="*/ 261 h 311"/>
                    <a:gd name="T8" fmla="*/ 19 w 790"/>
                    <a:gd name="T9" fmla="*/ 311 h 311"/>
                    <a:gd name="T10" fmla="*/ 0 w 790"/>
                    <a:gd name="T11" fmla="*/ 246 h 311"/>
                    <a:gd name="T12" fmla="*/ 765 w 790"/>
                    <a:gd name="T13" fmla="*/ 0 h 3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90" h="311">
                      <a:moveTo>
                        <a:pt x="765" y="0"/>
                      </a:moveTo>
                      <a:cubicBezTo>
                        <a:pt x="774" y="21"/>
                        <a:pt x="781" y="38"/>
                        <a:pt x="790" y="58"/>
                      </a:cubicBezTo>
                      <a:cubicBezTo>
                        <a:pt x="775" y="66"/>
                        <a:pt x="762" y="73"/>
                        <a:pt x="749" y="78"/>
                      </a:cubicBezTo>
                      <a:cubicBezTo>
                        <a:pt x="570" y="151"/>
                        <a:pt x="386" y="208"/>
                        <a:pt x="200" y="261"/>
                      </a:cubicBezTo>
                      <a:cubicBezTo>
                        <a:pt x="142" y="277"/>
                        <a:pt x="83" y="293"/>
                        <a:pt x="19" y="311"/>
                      </a:cubicBezTo>
                      <a:cubicBezTo>
                        <a:pt x="12" y="289"/>
                        <a:pt x="7" y="270"/>
                        <a:pt x="0" y="246"/>
                      </a:cubicBezTo>
                      <a:cubicBezTo>
                        <a:pt x="260" y="175"/>
                        <a:pt x="515" y="103"/>
                        <a:pt x="76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08" name="Freeform 93">
                  <a:extLst>
                    <a:ext uri="{FF2B5EF4-FFF2-40B4-BE49-F238E27FC236}">
                      <a16:creationId xmlns:a16="http://schemas.microsoft.com/office/drawing/2014/main" id="{3E4C61FA-3624-4BF4-B4F7-72E3C2B3FF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35513" y="5840413"/>
                  <a:ext cx="323850" cy="257175"/>
                </a:xfrm>
                <a:custGeom>
                  <a:avLst/>
                  <a:gdLst>
                    <a:gd name="T0" fmla="*/ 22 w 787"/>
                    <a:gd name="T1" fmla="*/ 314 h 314"/>
                    <a:gd name="T2" fmla="*/ 0 w 787"/>
                    <a:gd name="T3" fmla="*/ 257 h 314"/>
                    <a:gd name="T4" fmla="*/ 770 w 787"/>
                    <a:gd name="T5" fmla="*/ 0 h 314"/>
                    <a:gd name="T6" fmla="*/ 787 w 787"/>
                    <a:gd name="T7" fmla="*/ 59 h 314"/>
                    <a:gd name="T8" fmla="*/ 22 w 787"/>
                    <a:gd name="T9" fmla="*/ 314 h 3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87" h="314">
                      <a:moveTo>
                        <a:pt x="22" y="314"/>
                      </a:moveTo>
                      <a:cubicBezTo>
                        <a:pt x="15" y="295"/>
                        <a:pt x="8" y="278"/>
                        <a:pt x="0" y="257"/>
                      </a:cubicBezTo>
                      <a:cubicBezTo>
                        <a:pt x="254" y="159"/>
                        <a:pt x="509" y="76"/>
                        <a:pt x="770" y="0"/>
                      </a:cubicBezTo>
                      <a:cubicBezTo>
                        <a:pt x="777" y="23"/>
                        <a:pt x="782" y="41"/>
                        <a:pt x="787" y="59"/>
                      </a:cubicBezTo>
                      <a:cubicBezTo>
                        <a:pt x="531" y="145"/>
                        <a:pt x="279" y="229"/>
                        <a:pt x="22" y="3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/>
                </a:p>
              </p:txBody>
            </p:sp>
            <p:sp>
              <p:nvSpPr>
                <p:cNvPr id="109" name="Freeform 94">
                  <a:extLst>
                    <a:ext uri="{FF2B5EF4-FFF2-40B4-BE49-F238E27FC236}">
                      <a16:creationId xmlns:a16="http://schemas.microsoft.com/office/drawing/2014/main" id="{CBEE9D19-28B6-4CD6-9909-7305972BE6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48400" y="2874963"/>
                  <a:ext cx="130175" cy="155575"/>
                </a:xfrm>
                <a:custGeom>
                  <a:avLst/>
                  <a:gdLst>
                    <a:gd name="T0" fmla="*/ 23 w 316"/>
                    <a:gd name="T1" fmla="*/ 0 h 190"/>
                    <a:gd name="T2" fmla="*/ 316 w 316"/>
                    <a:gd name="T3" fmla="*/ 147 h 190"/>
                    <a:gd name="T4" fmla="*/ 296 w 316"/>
                    <a:gd name="T5" fmla="*/ 190 h 190"/>
                    <a:gd name="T6" fmla="*/ 0 w 316"/>
                    <a:gd name="T7" fmla="*/ 40 h 190"/>
                    <a:gd name="T8" fmla="*/ 23 w 316"/>
                    <a:gd name="T9" fmla="*/ 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6" h="190">
                      <a:moveTo>
                        <a:pt x="23" y="0"/>
                      </a:moveTo>
                      <a:cubicBezTo>
                        <a:pt x="124" y="50"/>
                        <a:pt x="218" y="98"/>
                        <a:pt x="316" y="147"/>
                      </a:cubicBezTo>
                      <a:cubicBezTo>
                        <a:pt x="309" y="161"/>
                        <a:pt x="303" y="173"/>
                        <a:pt x="296" y="190"/>
                      </a:cubicBezTo>
                      <a:cubicBezTo>
                        <a:pt x="194" y="145"/>
                        <a:pt x="96" y="99"/>
                        <a:pt x="0" y="40"/>
                      </a:cubicBezTo>
                      <a:cubicBezTo>
                        <a:pt x="8" y="26"/>
                        <a:pt x="15" y="14"/>
                        <a:pt x="2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0" name="Freeform 95">
                  <a:extLst>
                    <a:ext uri="{FF2B5EF4-FFF2-40B4-BE49-F238E27FC236}">
                      <a16:creationId xmlns:a16="http://schemas.microsoft.com/office/drawing/2014/main" id="{9E74DF55-1E3F-49BA-BDE4-50AC898FEC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10425" y="3732213"/>
                  <a:ext cx="128588" cy="165100"/>
                </a:xfrm>
                <a:custGeom>
                  <a:avLst/>
                  <a:gdLst>
                    <a:gd name="T0" fmla="*/ 0 w 312"/>
                    <a:gd name="T1" fmla="*/ 42 h 202"/>
                    <a:gd name="T2" fmla="*/ 22 w 312"/>
                    <a:gd name="T3" fmla="*/ 0 h 202"/>
                    <a:gd name="T4" fmla="*/ 312 w 312"/>
                    <a:gd name="T5" fmla="*/ 160 h 202"/>
                    <a:gd name="T6" fmla="*/ 286 w 312"/>
                    <a:gd name="T7" fmla="*/ 202 h 202"/>
                    <a:gd name="T8" fmla="*/ 0 w 312"/>
                    <a:gd name="T9" fmla="*/ 42 h 2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2" h="202">
                      <a:moveTo>
                        <a:pt x="0" y="42"/>
                      </a:moveTo>
                      <a:cubicBezTo>
                        <a:pt x="8" y="27"/>
                        <a:pt x="14" y="16"/>
                        <a:pt x="22" y="0"/>
                      </a:cubicBezTo>
                      <a:cubicBezTo>
                        <a:pt x="122" y="48"/>
                        <a:pt x="215" y="103"/>
                        <a:pt x="312" y="160"/>
                      </a:cubicBezTo>
                      <a:cubicBezTo>
                        <a:pt x="302" y="175"/>
                        <a:pt x="295" y="187"/>
                        <a:pt x="286" y="202"/>
                      </a:cubicBezTo>
                      <a:cubicBezTo>
                        <a:pt x="190" y="148"/>
                        <a:pt x="97" y="97"/>
                        <a:pt x="0" y="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1" name="Freeform 96">
                  <a:extLst>
                    <a:ext uri="{FF2B5EF4-FFF2-40B4-BE49-F238E27FC236}">
                      <a16:creationId xmlns:a16="http://schemas.microsoft.com/office/drawing/2014/main" id="{53F9CBA2-34C2-410F-925E-A060AE8DBE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31000" y="3297238"/>
                  <a:ext cx="133350" cy="142875"/>
                </a:xfrm>
                <a:custGeom>
                  <a:avLst/>
                  <a:gdLst>
                    <a:gd name="T0" fmla="*/ 322 w 322"/>
                    <a:gd name="T1" fmla="*/ 127 h 174"/>
                    <a:gd name="T2" fmla="*/ 304 w 322"/>
                    <a:gd name="T3" fmla="*/ 174 h 174"/>
                    <a:gd name="T4" fmla="*/ 0 w 322"/>
                    <a:gd name="T5" fmla="*/ 47 h 174"/>
                    <a:gd name="T6" fmla="*/ 19 w 322"/>
                    <a:gd name="T7" fmla="*/ 0 h 174"/>
                    <a:gd name="T8" fmla="*/ 322 w 322"/>
                    <a:gd name="T9" fmla="*/ 127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2" h="174">
                      <a:moveTo>
                        <a:pt x="322" y="127"/>
                      </a:moveTo>
                      <a:cubicBezTo>
                        <a:pt x="316" y="143"/>
                        <a:pt x="311" y="156"/>
                        <a:pt x="304" y="174"/>
                      </a:cubicBezTo>
                      <a:cubicBezTo>
                        <a:pt x="201" y="131"/>
                        <a:pt x="103" y="90"/>
                        <a:pt x="0" y="47"/>
                      </a:cubicBezTo>
                      <a:cubicBezTo>
                        <a:pt x="7" y="31"/>
                        <a:pt x="12" y="18"/>
                        <a:pt x="19" y="0"/>
                      </a:cubicBezTo>
                      <a:cubicBezTo>
                        <a:pt x="121" y="42"/>
                        <a:pt x="220" y="84"/>
                        <a:pt x="322" y="1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2" name="Freeform 97">
                  <a:extLst>
                    <a:ext uri="{FF2B5EF4-FFF2-40B4-BE49-F238E27FC236}">
                      <a16:creationId xmlns:a16="http://schemas.microsoft.com/office/drawing/2014/main" id="{01C3D2E1-6D32-4DB4-A7AB-A72B7A647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8113" y="3095625"/>
                  <a:ext cx="133350" cy="142875"/>
                </a:xfrm>
                <a:custGeom>
                  <a:avLst/>
                  <a:gdLst>
                    <a:gd name="T0" fmla="*/ 0 w 323"/>
                    <a:gd name="T1" fmla="*/ 47 h 174"/>
                    <a:gd name="T2" fmla="*/ 20 w 323"/>
                    <a:gd name="T3" fmla="*/ 0 h 174"/>
                    <a:gd name="T4" fmla="*/ 323 w 323"/>
                    <a:gd name="T5" fmla="*/ 126 h 174"/>
                    <a:gd name="T6" fmla="*/ 305 w 323"/>
                    <a:gd name="T7" fmla="*/ 174 h 174"/>
                    <a:gd name="T8" fmla="*/ 0 w 323"/>
                    <a:gd name="T9" fmla="*/ 47 h 1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23" h="174">
                      <a:moveTo>
                        <a:pt x="0" y="47"/>
                      </a:moveTo>
                      <a:cubicBezTo>
                        <a:pt x="8" y="29"/>
                        <a:pt x="13" y="17"/>
                        <a:pt x="20" y="0"/>
                      </a:cubicBezTo>
                      <a:cubicBezTo>
                        <a:pt x="121" y="42"/>
                        <a:pt x="219" y="83"/>
                        <a:pt x="323" y="126"/>
                      </a:cubicBezTo>
                      <a:cubicBezTo>
                        <a:pt x="317" y="142"/>
                        <a:pt x="311" y="156"/>
                        <a:pt x="305" y="174"/>
                      </a:cubicBezTo>
                      <a:cubicBezTo>
                        <a:pt x="202" y="131"/>
                        <a:pt x="104" y="90"/>
                        <a:pt x="0" y="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3" name="Freeform 98">
                  <a:extLst>
                    <a:ext uri="{FF2B5EF4-FFF2-40B4-BE49-F238E27FC236}">
                      <a16:creationId xmlns:a16="http://schemas.microsoft.com/office/drawing/2014/main" id="{55879D9A-D6DB-450A-8AA6-FE49F80D0F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19975" y="4445000"/>
                  <a:ext cx="120650" cy="185738"/>
                </a:xfrm>
                <a:custGeom>
                  <a:avLst/>
                  <a:gdLst>
                    <a:gd name="T0" fmla="*/ 19 w 291"/>
                    <a:gd name="T1" fmla="*/ 226 h 226"/>
                    <a:gd name="T2" fmla="*/ 6 w 291"/>
                    <a:gd name="T3" fmla="*/ 204 h 226"/>
                    <a:gd name="T4" fmla="*/ 0 w 291"/>
                    <a:gd name="T5" fmla="*/ 180 h 226"/>
                    <a:gd name="T6" fmla="*/ 251 w 291"/>
                    <a:gd name="T7" fmla="*/ 0 h 226"/>
                    <a:gd name="T8" fmla="*/ 291 w 291"/>
                    <a:gd name="T9" fmla="*/ 28 h 226"/>
                    <a:gd name="T10" fmla="*/ 19 w 291"/>
                    <a:gd name="T11" fmla="*/ 226 h 2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91" h="226">
                      <a:moveTo>
                        <a:pt x="19" y="226"/>
                      </a:moveTo>
                      <a:cubicBezTo>
                        <a:pt x="13" y="215"/>
                        <a:pt x="8" y="210"/>
                        <a:pt x="6" y="204"/>
                      </a:cubicBezTo>
                      <a:cubicBezTo>
                        <a:pt x="3" y="198"/>
                        <a:pt x="2" y="192"/>
                        <a:pt x="0" y="180"/>
                      </a:cubicBezTo>
                      <a:cubicBezTo>
                        <a:pt x="91" y="134"/>
                        <a:pt x="182" y="84"/>
                        <a:pt x="251" y="0"/>
                      </a:cubicBezTo>
                      <a:cubicBezTo>
                        <a:pt x="264" y="9"/>
                        <a:pt x="276" y="17"/>
                        <a:pt x="291" y="28"/>
                      </a:cubicBezTo>
                      <a:cubicBezTo>
                        <a:pt x="219" y="122"/>
                        <a:pt x="123" y="176"/>
                        <a:pt x="19" y="2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4" name="Freeform 99">
                  <a:extLst>
                    <a:ext uri="{FF2B5EF4-FFF2-40B4-BE49-F238E27FC236}">
                      <a16:creationId xmlns:a16="http://schemas.microsoft.com/office/drawing/2014/main" id="{E85B5991-2F06-45AC-BCEA-03B99A5EAC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973888" y="3505200"/>
                  <a:ext cx="131763" cy="149225"/>
                </a:xfrm>
                <a:custGeom>
                  <a:avLst/>
                  <a:gdLst>
                    <a:gd name="T0" fmla="*/ 0 w 320"/>
                    <a:gd name="T1" fmla="*/ 45 h 181"/>
                    <a:gd name="T2" fmla="*/ 11 w 320"/>
                    <a:gd name="T3" fmla="*/ 16 h 181"/>
                    <a:gd name="T4" fmla="*/ 24 w 320"/>
                    <a:gd name="T5" fmla="*/ 0 h 181"/>
                    <a:gd name="T6" fmla="*/ 320 w 320"/>
                    <a:gd name="T7" fmla="*/ 135 h 181"/>
                    <a:gd name="T8" fmla="*/ 298 w 320"/>
                    <a:gd name="T9" fmla="*/ 181 h 181"/>
                    <a:gd name="T10" fmla="*/ 0 w 320"/>
                    <a:gd name="T11" fmla="*/ 45 h 18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20" h="181">
                      <a:moveTo>
                        <a:pt x="0" y="45"/>
                      </a:moveTo>
                      <a:cubicBezTo>
                        <a:pt x="5" y="31"/>
                        <a:pt x="7" y="23"/>
                        <a:pt x="11" y="16"/>
                      </a:cubicBezTo>
                      <a:cubicBezTo>
                        <a:pt x="13" y="12"/>
                        <a:pt x="17" y="8"/>
                        <a:pt x="24" y="0"/>
                      </a:cubicBezTo>
                      <a:cubicBezTo>
                        <a:pt x="121" y="44"/>
                        <a:pt x="218" y="89"/>
                        <a:pt x="320" y="135"/>
                      </a:cubicBezTo>
                      <a:cubicBezTo>
                        <a:pt x="312" y="152"/>
                        <a:pt x="306" y="164"/>
                        <a:pt x="298" y="181"/>
                      </a:cubicBezTo>
                      <a:cubicBezTo>
                        <a:pt x="198" y="135"/>
                        <a:pt x="101" y="91"/>
                        <a:pt x="0" y="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5" name="Freeform 100">
                  <a:extLst>
                    <a:ext uri="{FF2B5EF4-FFF2-40B4-BE49-F238E27FC236}">
                      <a16:creationId xmlns:a16="http://schemas.microsoft.com/office/drawing/2014/main" id="{001DDCAA-C90E-485B-B7C4-1CD7AE42D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32675" y="4010025"/>
                  <a:ext cx="107950" cy="217488"/>
                </a:xfrm>
                <a:custGeom>
                  <a:avLst/>
                  <a:gdLst>
                    <a:gd name="T0" fmla="*/ 0 w 262"/>
                    <a:gd name="T1" fmla="*/ 37 h 266"/>
                    <a:gd name="T2" fmla="*/ 32 w 262"/>
                    <a:gd name="T3" fmla="*/ 0 h 266"/>
                    <a:gd name="T4" fmla="*/ 262 w 262"/>
                    <a:gd name="T5" fmla="*/ 238 h 266"/>
                    <a:gd name="T6" fmla="*/ 242 w 262"/>
                    <a:gd name="T7" fmla="*/ 256 h 266"/>
                    <a:gd name="T8" fmla="*/ 221 w 262"/>
                    <a:gd name="T9" fmla="*/ 266 h 266"/>
                    <a:gd name="T10" fmla="*/ 0 w 262"/>
                    <a:gd name="T11" fmla="*/ 37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62" h="266">
                      <a:moveTo>
                        <a:pt x="0" y="37"/>
                      </a:moveTo>
                      <a:cubicBezTo>
                        <a:pt x="13" y="22"/>
                        <a:pt x="21" y="13"/>
                        <a:pt x="32" y="0"/>
                      </a:cubicBezTo>
                      <a:cubicBezTo>
                        <a:pt x="122" y="69"/>
                        <a:pt x="202" y="142"/>
                        <a:pt x="262" y="238"/>
                      </a:cubicBezTo>
                      <a:cubicBezTo>
                        <a:pt x="253" y="246"/>
                        <a:pt x="248" y="252"/>
                        <a:pt x="242" y="256"/>
                      </a:cubicBezTo>
                      <a:cubicBezTo>
                        <a:pt x="236" y="259"/>
                        <a:pt x="230" y="261"/>
                        <a:pt x="221" y="266"/>
                      </a:cubicBezTo>
                      <a:cubicBezTo>
                        <a:pt x="162" y="177"/>
                        <a:pt x="85" y="106"/>
                        <a:pt x="0" y="3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ABB4DFBA-86F4-4FDB-BB1E-82A995FC0E2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56463" y="1908175"/>
                  <a:ext cx="103188" cy="61913"/>
                </a:xfrm>
                <a:custGeom>
                  <a:avLst/>
                  <a:gdLst>
                    <a:gd name="T0" fmla="*/ 248 w 251"/>
                    <a:gd name="T1" fmla="*/ 34 h 76"/>
                    <a:gd name="T2" fmla="*/ 98 w 251"/>
                    <a:gd name="T3" fmla="*/ 59 h 76"/>
                    <a:gd name="T4" fmla="*/ 36 w 251"/>
                    <a:gd name="T5" fmla="*/ 68 h 76"/>
                    <a:gd name="T6" fmla="*/ 3 w 251"/>
                    <a:gd name="T7" fmla="*/ 56 h 76"/>
                    <a:gd name="T8" fmla="*/ 33 w 251"/>
                    <a:gd name="T9" fmla="*/ 33 h 76"/>
                    <a:gd name="T10" fmla="*/ 135 w 251"/>
                    <a:gd name="T11" fmla="*/ 16 h 76"/>
                    <a:gd name="T12" fmla="*/ 225 w 251"/>
                    <a:gd name="T13" fmla="*/ 3 h 76"/>
                    <a:gd name="T14" fmla="*/ 248 w 251"/>
                    <a:gd name="T15" fmla="*/ 34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51" h="76">
                      <a:moveTo>
                        <a:pt x="248" y="34"/>
                      </a:moveTo>
                      <a:cubicBezTo>
                        <a:pt x="197" y="43"/>
                        <a:pt x="148" y="51"/>
                        <a:pt x="98" y="59"/>
                      </a:cubicBezTo>
                      <a:cubicBezTo>
                        <a:pt x="77" y="62"/>
                        <a:pt x="57" y="66"/>
                        <a:pt x="36" y="68"/>
                      </a:cubicBezTo>
                      <a:cubicBezTo>
                        <a:pt x="23" y="69"/>
                        <a:pt x="7" y="76"/>
                        <a:pt x="3" y="56"/>
                      </a:cubicBezTo>
                      <a:cubicBezTo>
                        <a:pt x="0" y="34"/>
                        <a:pt x="20" y="35"/>
                        <a:pt x="33" y="33"/>
                      </a:cubicBezTo>
                      <a:cubicBezTo>
                        <a:pt x="67" y="26"/>
                        <a:pt x="101" y="22"/>
                        <a:pt x="135" y="16"/>
                      </a:cubicBezTo>
                      <a:cubicBezTo>
                        <a:pt x="165" y="12"/>
                        <a:pt x="195" y="7"/>
                        <a:pt x="225" y="3"/>
                      </a:cubicBezTo>
                      <a:cubicBezTo>
                        <a:pt x="244" y="0"/>
                        <a:pt x="251" y="10"/>
                        <a:pt x="248" y="3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7" name="Freeform 102">
                  <a:extLst>
                    <a:ext uri="{FF2B5EF4-FFF2-40B4-BE49-F238E27FC236}">
                      <a16:creationId xmlns:a16="http://schemas.microsoft.com/office/drawing/2014/main" id="{F52DC87E-5F2C-47BA-B4DD-611B1DD6C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51725" y="1847850"/>
                  <a:ext cx="103188" cy="57150"/>
                </a:xfrm>
                <a:custGeom>
                  <a:avLst/>
                  <a:gdLst>
                    <a:gd name="T0" fmla="*/ 19 w 252"/>
                    <a:gd name="T1" fmla="*/ 71 h 71"/>
                    <a:gd name="T2" fmla="*/ 3 w 252"/>
                    <a:gd name="T3" fmla="*/ 53 h 71"/>
                    <a:gd name="T4" fmla="*/ 23 w 252"/>
                    <a:gd name="T5" fmla="*/ 34 h 71"/>
                    <a:gd name="T6" fmla="*/ 220 w 252"/>
                    <a:gd name="T7" fmla="*/ 2 h 71"/>
                    <a:gd name="T8" fmla="*/ 248 w 252"/>
                    <a:gd name="T9" fmla="*/ 15 h 71"/>
                    <a:gd name="T10" fmla="*/ 226 w 252"/>
                    <a:gd name="T11" fmla="*/ 37 h 71"/>
                    <a:gd name="T12" fmla="*/ 77 w 252"/>
                    <a:gd name="T13" fmla="*/ 61 h 71"/>
                    <a:gd name="T14" fmla="*/ 19 w 252"/>
                    <a:gd name="T15" fmla="*/ 71 h 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52" h="71">
                      <a:moveTo>
                        <a:pt x="19" y="71"/>
                      </a:moveTo>
                      <a:cubicBezTo>
                        <a:pt x="15" y="66"/>
                        <a:pt x="5" y="61"/>
                        <a:pt x="3" y="53"/>
                      </a:cubicBezTo>
                      <a:cubicBezTo>
                        <a:pt x="0" y="39"/>
                        <a:pt x="13" y="36"/>
                        <a:pt x="23" y="34"/>
                      </a:cubicBezTo>
                      <a:cubicBezTo>
                        <a:pt x="89" y="23"/>
                        <a:pt x="154" y="12"/>
                        <a:pt x="220" y="2"/>
                      </a:cubicBezTo>
                      <a:cubicBezTo>
                        <a:pt x="232" y="0"/>
                        <a:pt x="245" y="0"/>
                        <a:pt x="248" y="15"/>
                      </a:cubicBezTo>
                      <a:cubicBezTo>
                        <a:pt x="252" y="32"/>
                        <a:pt x="239" y="35"/>
                        <a:pt x="226" y="37"/>
                      </a:cubicBezTo>
                      <a:cubicBezTo>
                        <a:pt x="177" y="45"/>
                        <a:pt x="127" y="53"/>
                        <a:pt x="77" y="61"/>
                      </a:cubicBezTo>
                      <a:cubicBezTo>
                        <a:pt x="60" y="64"/>
                        <a:pt x="43" y="67"/>
                        <a:pt x="19" y="7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8" name="Freeform 103">
                  <a:extLst>
                    <a:ext uri="{FF2B5EF4-FFF2-40B4-BE49-F238E27FC236}">
                      <a16:creationId xmlns:a16="http://schemas.microsoft.com/office/drawing/2014/main" id="{24A26656-B76B-47F8-B61A-701E862533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484938" y="2205038"/>
                  <a:ext cx="100013" cy="77788"/>
                </a:xfrm>
                <a:custGeom>
                  <a:avLst/>
                  <a:gdLst>
                    <a:gd name="T0" fmla="*/ 242 w 242"/>
                    <a:gd name="T1" fmla="*/ 29 h 95"/>
                    <a:gd name="T2" fmla="*/ 219 w 242"/>
                    <a:gd name="T3" fmla="*/ 39 h 95"/>
                    <a:gd name="T4" fmla="*/ 31 w 242"/>
                    <a:gd name="T5" fmla="*/ 91 h 95"/>
                    <a:gd name="T6" fmla="*/ 16 w 242"/>
                    <a:gd name="T7" fmla="*/ 94 h 95"/>
                    <a:gd name="T8" fmla="*/ 1 w 242"/>
                    <a:gd name="T9" fmla="*/ 85 h 95"/>
                    <a:gd name="T10" fmla="*/ 6 w 242"/>
                    <a:gd name="T11" fmla="*/ 64 h 95"/>
                    <a:gd name="T12" fmla="*/ 20 w 242"/>
                    <a:gd name="T13" fmla="*/ 58 h 95"/>
                    <a:gd name="T14" fmla="*/ 207 w 242"/>
                    <a:gd name="T15" fmla="*/ 5 h 95"/>
                    <a:gd name="T16" fmla="*/ 242 w 242"/>
                    <a:gd name="T17" fmla="*/ 29 h 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42" h="95">
                      <a:moveTo>
                        <a:pt x="242" y="29"/>
                      </a:moveTo>
                      <a:cubicBezTo>
                        <a:pt x="233" y="33"/>
                        <a:pt x="226" y="37"/>
                        <a:pt x="219" y="39"/>
                      </a:cubicBezTo>
                      <a:cubicBezTo>
                        <a:pt x="156" y="57"/>
                        <a:pt x="94" y="74"/>
                        <a:pt x="31" y="91"/>
                      </a:cubicBezTo>
                      <a:cubicBezTo>
                        <a:pt x="26" y="92"/>
                        <a:pt x="21" y="95"/>
                        <a:pt x="16" y="94"/>
                      </a:cubicBezTo>
                      <a:cubicBezTo>
                        <a:pt x="10" y="93"/>
                        <a:pt x="2" y="89"/>
                        <a:pt x="1" y="85"/>
                      </a:cubicBezTo>
                      <a:cubicBezTo>
                        <a:pt x="0" y="78"/>
                        <a:pt x="2" y="70"/>
                        <a:pt x="6" y="64"/>
                      </a:cubicBezTo>
                      <a:cubicBezTo>
                        <a:pt x="8" y="60"/>
                        <a:pt x="15" y="59"/>
                        <a:pt x="20" y="58"/>
                      </a:cubicBezTo>
                      <a:cubicBezTo>
                        <a:pt x="82" y="40"/>
                        <a:pt x="145" y="23"/>
                        <a:pt x="207" y="5"/>
                      </a:cubicBezTo>
                      <a:cubicBezTo>
                        <a:pt x="224" y="1"/>
                        <a:pt x="239" y="0"/>
                        <a:pt x="242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19" name="Freeform 104">
                  <a:extLst>
                    <a:ext uri="{FF2B5EF4-FFF2-40B4-BE49-F238E27FC236}">
                      <a16:creationId xmlns:a16="http://schemas.microsoft.com/office/drawing/2014/main" id="{4C447A74-2616-4834-BCB5-F1D9A6FC0A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45400" y="1778000"/>
                  <a:ext cx="103188" cy="61913"/>
                </a:xfrm>
                <a:custGeom>
                  <a:avLst/>
                  <a:gdLst>
                    <a:gd name="T0" fmla="*/ 20 w 248"/>
                    <a:gd name="T1" fmla="*/ 77 h 77"/>
                    <a:gd name="T2" fmla="*/ 4 w 248"/>
                    <a:gd name="T3" fmla="*/ 60 h 77"/>
                    <a:gd name="T4" fmla="*/ 22 w 248"/>
                    <a:gd name="T5" fmla="*/ 39 h 77"/>
                    <a:gd name="T6" fmla="*/ 155 w 248"/>
                    <a:gd name="T7" fmla="*/ 14 h 77"/>
                    <a:gd name="T8" fmla="*/ 226 w 248"/>
                    <a:gd name="T9" fmla="*/ 1 h 77"/>
                    <a:gd name="T10" fmla="*/ 246 w 248"/>
                    <a:gd name="T11" fmla="*/ 13 h 77"/>
                    <a:gd name="T12" fmla="*/ 235 w 248"/>
                    <a:gd name="T13" fmla="*/ 33 h 77"/>
                    <a:gd name="T14" fmla="*/ 20 w 248"/>
                    <a:gd name="T15" fmla="*/ 77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8" h="77">
                      <a:moveTo>
                        <a:pt x="20" y="77"/>
                      </a:moveTo>
                      <a:cubicBezTo>
                        <a:pt x="15" y="72"/>
                        <a:pt x="6" y="67"/>
                        <a:pt x="4" y="60"/>
                      </a:cubicBezTo>
                      <a:cubicBezTo>
                        <a:pt x="0" y="47"/>
                        <a:pt x="11" y="41"/>
                        <a:pt x="22" y="39"/>
                      </a:cubicBezTo>
                      <a:cubicBezTo>
                        <a:pt x="66" y="30"/>
                        <a:pt x="111" y="22"/>
                        <a:pt x="155" y="14"/>
                      </a:cubicBezTo>
                      <a:cubicBezTo>
                        <a:pt x="179" y="9"/>
                        <a:pt x="202" y="4"/>
                        <a:pt x="226" y="1"/>
                      </a:cubicBezTo>
                      <a:cubicBezTo>
                        <a:pt x="232" y="0"/>
                        <a:pt x="244" y="7"/>
                        <a:pt x="246" y="13"/>
                      </a:cubicBezTo>
                      <a:cubicBezTo>
                        <a:pt x="248" y="18"/>
                        <a:pt x="241" y="32"/>
                        <a:pt x="235" y="33"/>
                      </a:cubicBezTo>
                      <a:cubicBezTo>
                        <a:pt x="165" y="48"/>
                        <a:pt x="95" y="62"/>
                        <a:pt x="20" y="7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0" name="Freeform 105">
                  <a:extLst>
                    <a:ext uri="{FF2B5EF4-FFF2-40B4-BE49-F238E27FC236}">
                      <a16:creationId xmlns:a16="http://schemas.microsoft.com/office/drawing/2014/main" id="{6CA85A20-84D6-4E67-91A8-1C69DA8D1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61200" y="1970088"/>
                  <a:ext cx="104775" cy="61913"/>
                </a:xfrm>
                <a:custGeom>
                  <a:avLst/>
                  <a:gdLst>
                    <a:gd name="T0" fmla="*/ 243 w 253"/>
                    <a:gd name="T1" fmla="*/ 0 h 75"/>
                    <a:gd name="T2" fmla="*/ 234 w 253"/>
                    <a:gd name="T3" fmla="*/ 37 h 75"/>
                    <a:gd name="T4" fmla="*/ 12 w 253"/>
                    <a:gd name="T5" fmla="*/ 75 h 75"/>
                    <a:gd name="T6" fmla="*/ 20 w 253"/>
                    <a:gd name="T7" fmla="*/ 38 h 75"/>
                    <a:gd name="T8" fmla="*/ 243 w 253"/>
                    <a:gd name="T9" fmla="*/ 0 h 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53" h="75">
                      <a:moveTo>
                        <a:pt x="243" y="0"/>
                      </a:moveTo>
                      <a:cubicBezTo>
                        <a:pt x="253" y="22"/>
                        <a:pt x="252" y="34"/>
                        <a:pt x="234" y="37"/>
                      </a:cubicBezTo>
                      <a:cubicBezTo>
                        <a:pt x="160" y="50"/>
                        <a:pt x="86" y="62"/>
                        <a:pt x="12" y="75"/>
                      </a:cubicBezTo>
                      <a:cubicBezTo>
                        <a:pt x="1" y="56"/>
                        <a:pt x="0" y="42"/>
                        <a:pt x="20" y="38"/>
                      </a:cubicBezTo>
                      <a:cubicBezTo>
                        <a:pt x="94" y="25"/>
                        <a:pt x="168" y="13"/>
                        <a:pt x="243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1" name="Freeform 106">
                  <a:extLst>
                    <a:ext uri="{FF2B5EF4-FFF2-40B4-BE49-F238E27FC236}">
                      <a16:creationId xmlns:a16="http://schemas.microsoft.com/office/drawing/2014/main" id="{4A0F0213-9D50-4A01-A1B7-99A91691EE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165850" y="2497138"/>
                  <a:ext cx="57150" cy="184150"/>
                </a:xfrm>
                <a:custGeom>
                  <a:avLst/>
                  <a:gdLst>
                    <a:gd name="T0" fmla="*/ 139 w 139"/>
                    <a:gd name="T1" fmla="*/ 29 h 223"/>
                    <a:gd name="T2" fmla="*/ 36 w 139"/>
                    <a:gd name="T3" fmla="*/ 216 h 223"/>
                    <a:gd name="T4" fmla="*/ 2 w 139"/>
                    <a:gd name="T5" fmla="*/ 198 h 223"/>
                    <a:gd name="T6" fmla="*/ 16 w 139"/>
                    <a:gd name="T7" fmla="*/ 133 h 223"/>
                    <a:gd name="T8" fmla="*/ 103 w 139"/>
                    <a:gd name="T9" fmla="*/ 16 h 223"/>
                    <a:gd name="T10" fmla="*/ 139 w 139"/>
                    <a:gd name="T11" fmla="*/ 29 h 2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39" h="223">
                      <a:moveTo>
                        <a:pt x="139" y="29"/>
                      </a:moveTo>
                      <a:cubicBezTo>
                        <a:pt x="84" y="79"/>
                        <a:pt x="33" y="134"/>
                        <a:pt x="36" y="216"/>
                      </a:cubicBezTo>
                      <a:cubicBezTo>
                        <a:pt x="6" y="223"/>
                        <a:pt x="0" y="221"/>
                        <a:pt x="2" y="198"/>
                      </a:cubicBezTo>
                      <a:cubicBezTo>
                        <a:pt x="4" y="176"/>
                        <a:pt x="9" y="154"/>
                        <a:pt x="16" y="133"/>
                      </a:cubicBezTo>
                      <a:cubicBezTo>
                        <a:pt x="33" y="85"/>
                        <a:pt x="66" y="49"/>
                        <a:pt x="103" y="16"/>
                      </a:cubicBezTo>
                      <a:cubicBezTo>
                        <a:pt x="120" y="0"/>
                        <a:pt x="130" y="6"/>
                        <a:pt x="139" y="2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2" name="Freeform 107">
                  <a:extLst>
                    <a:ext uri="{FF2B5EF4-FFF2-40B4-BE49-F238E27FC236}">
                      <a16:creationId xmlns:a16="http://schemas.microsoft.com/office/drawing/2014/main" id="{4BB3EDC8-2E2B-4630-BC6C-95FCFC68FA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77025" y="2116138"/>
                  <a:ext cx="100013" cy="66675"/>
                </a:xfrm>
                <a:custGeom>
                  <a:avLst/>
                  <a:gdLst>
                    <a:gd name="T0" fmla="*/ 228 w 246"/>
                    <a:gd name="T1" fmla="*/ 0 h 82"/>
                    <a:gd name="T2" fmla="*/ 242 w 246"/>
                    <a:gd name="T3" fmla="*/ 17 h 82"/>
                    <a:gd name="T4" fmla="*/ 224 w 246"/>
                    <a:gd name="T5" fmla="*/ 37 h 82"/>
                    <a:gd name="T6" fmla="*/ 72 w 246"/>
                    <a:gd name="T7" fmla="*/ 71 h 82"/>
                    <a:gd name="T8" fmla="*/ 21 w 246"/>
                    <a:gd name="T9" fmla="*/ 81 h 82"/>
                    <a:gd name="T10" fmla="*/ 0 w 246"/>
                    <a:gd name="T11" fmla="*/ 69 h 82"/>
                    <a:gd name="T12" fmla="*/ 14 w 246"/>
                    <a:gd name="T13" fmla="*/ 49 h 82"/>
                    <a:gd name="T14" fmla="*/ 44 w 246"/>
                    <a:gd name="T15" fmla="*/ 41 h 82"/>
                    <a:gd name="T16" fmla="*/ 199 w 246"/>
                    <a:gd name="T17" fmla="*/ 6 h 82"/>
                    <a:gd name="T18" fmla="*/ 228 w 246"/>
                    <a:gd name="T19" fmla="*/ 0 h 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46" h="82">
                      <a:moveTo>
                        <a:pt x="228" y="0"/>
                      </a:moveTo>
                      <a:cubicBezTo>
                        <a:pt x="232" y="5"/>
                        <a:pt x="240" y="10"/>
                        <a:pt x="242" y="17"/>
                      </a:cubicBezTo>
                      <a:cubicBezTo>
                        <a:pt x="246" y="30"/>
                        <a:pt x="235" y="35"/>
                        <a:pt x="224" y="37"/>
                      </a:cubicBezTo>
                      <a:cubicBezTo>
                        <a:pt x="173" y="48"/>
                        <a:pt x="123" y="59"/>
                        <a:pt x="72" y="71"/>
                      </a:cubicBezTo>
                      <a:cubicBezTo>
                        <a:pt x="55" y="74"/>
                        <a:pt x="38" y="80"/>
                        <a:pt x="21" y="81"/>
                      </a:cubicBezTo>
                      <a:cubicBezTo>
                        <a:pt x="15" y="82"/>
                        <a:pt x="7" y="74"/>
                        <a:pt x="0" y="69"/>
                      </a:cubicBezTo>
                      <a:cubicBezTo>
                        <a:pt x="4" y="63"/>
                        <a:pt x="7" y="53"/>
                        <a:pt x="14" y="49"/>
                      </a:cubicBezTo>
                      <a:cubicBezTo>
                        <a:pt x="22" y="44"/>
                        <a:pt x="34" y="43"/>
                        <a:pt x="44" y="41"/>
                      </a:cubicBezTo>
                      <a:cubicBezTo>
                        <a:pt x="96" y="29"/>
                        <a:pt x="148" y="18"/>
                        <a:pt x="199" y="6"/>
                      </a:cubicBezTo>
                      <a:cubicBezTo>
                        <a:pt x="207" y="4"/>
                        <a:pt x="215" y="3"/>
                        <a:pt x="22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3" name="Freeform 108">
                  <a:extLst>
                    <a:ext uri="{FF2B5EF4-FFF2-40B4-BE49-F238E27FC236}">
                      <a16:creationId xmlns:a16="http://schemas.microsoft.com/office/drawing/2014/main" id="{DD9B6324-BCE7-497B-9B0E-FC44AAACE6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67525" y="2039938"/>
                  <a:ext cx="103188" cy="61913"/>
                </a:xfrm>
                <a:custGeom>
                  <a:avLst/>
                  <a:gdLst>
                    <a:gd name="T0" fmla="*/ 11 w 252"/>
                    <a:gd name="T1" fmla="*/ 76 h 76"/>
                    <a:gd name="T2" fmla="*/ 20 w 252"/>
                    <a:gd name="T3" fmla="*/ 40 h 76"/>
                    <a:gd name="T4" fmla="*/ 227 w 252"/>
                    <a:gd name="T5" fmla="*/ 1 h 76"/>
                    <a:gd name="T6" fmla="*/ 247 w 252"/>
                    <a:gd name="T7" fmla="*/ 13 h 76"/>
                    <a:gd name="T8" fmla="*/ 232 w 252"/>
                    <a:gd name="T9" fmla="*/ 35 h 76"/>
                    <a:gd name="T10" fmla="*/ 69 w 252"/>
                    <a:gd name="T11" fmla="*/ 66 h 76"/>
                    <a:gd name="T12" fmla="*/ 11 w 252"/>
                    <a:gd name="T13" fmla="*/ 7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2" h="76">
                      <a:moveTo>
                        <a:pt x="11" y="76"/>
                      </a:moveTo>
                      <a:cubicBezTo>
                        <a:pt x="0" y="57"/>
                        <a:pt x="0" y="44"/>
                        <a:pt x="20" y="40"/>
                      </a:cubicBezTo>
                      <a:cubicBezTo>
                        <a:pt x="89" y="26"/>
                        <a:pt x="158" y="13"/>
                        <a:pt x="227" y="1"/>
                      </a:cubicBezTo>
                      <a:cubicBezTo>
                        <a:pt x="233" y="0"/>
                        <a:pt x="245" y="7"/>
                        <a:pt x="247" y="13"/>
                      </a:cubicBezTo>
                      <a:cubicBezTo>
                        <a:pt x="252" y="24"/>
                        <a:pt x="245" y="32"/>
                        <a:pt x="232" y="35"/>
                      </a:cubicBezTo>
                      <a:cubicBezTo>
                        <a:pt x="178" y="45"/>
                        <a:pt x="123" y="56"/>
                        <a:pt x="69" y="66"/>
                      </a:cubicBezTo>
                      <a:cubicBezTo>
                        <a:pt x="50" y="70"/>
                        <a:pt x="30" y="73"/>
                        <a:pt x="11" y="7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4" name="Freeform 109">
                  <a:extLst>
                    <a:ext uri="{FF2B5EF4-FFF2-40B4-BE49-F238E27FC236}">
                      <a16:creationId xmlns:a16="http://schemas.microsoft.com/office/drawing/2014/main" id="{C8C64B50-C695-4618-B886-562FA794E8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96025" y="2322513"/>
                  <a:ext cx="101600" cy="98425"/>
                </a:xfrm>
                <a:custGeom>
                  <a:avLst/>
                  <a:gdLst>
                    <a:gd name="T0" fmla="*/ 19 w 245"/>
                    <a:gd name="T1" fmla="*/ 120 h 120"/>
                    <a:gd name="T2" fmla="*/ 18 w 245"/>
                    <a:gd name="T3" fmla="*/ 84 h 120"/>
                    <a:gd name="T4" fmla="*/ 217 w 245"/>
                    <a:gd name="T5" fmla="*/ 2 h 120"/>
                    <a:gd name="T6" fmla="*/ 239 w 245"/>
                    <a:gd name="T7" fmla="*/ 11 h 120"/>
                    <a:gd name="T8" fmla="*/ 227 w 245"/>
                    <a:gd name="T9" fmla="*/ 35 h 120"/>
                    <a:gd name="T10" fmla="*/ 171 w 245"/>
                    <a:gd name="T11" fmla="*/ 56 h 120"/>
                    <a:gd name="T12" fmla="*/ 19 w 245"/>
                    <a:gd name="T13" fmla="*/ 120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45" h="120">
                      <a:moveTo>
                        <a:pt x="19" y="120"/>
                      </a:moveTo>
                      <a:cubicBezTo>
                        <a:pt x="6" y="104"/>
                        <a:pt x="0" y="92"/>
                        <a:pt x="18" y="84"/>
                      </a:cubicBezTo>
                      <a:cubicBezTo>
                        <a:pt x="84" y="56"/>
                        <a:pt x="150" y="28"/>
                        <a:pt x="217" y="2"/>
                      </a:cubicBezTo>
                      <a:cubicBezTo>
                        <a:pt x="222" y="0"/>
                        <a:pt x="235" y="5"/>
                        <a:pt x="239" y="11"/>
                      </a:cubicBezTo>
                      <a:cubicBezTo>
                        <a:pt x="245" y="22"/>
                        <a:pt x="239" y="30"/>
                        <a:pt x="227" y="35"/>
                      </a:cubicBezTo>
                      <a:cubicBezTo>
                        <a:pt x="208" y="42"/>
                        <a:pt x="189" y="49"/>
                        <a:pt x="171" y="56"/>
                      </a:cubicBezTo>
                      <a:cubicBezTo>
                        <a:pt x="121" y="77"/>
                        <a:pt x="71" y="98"/>
                        <a:pt x="19" y="1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5" name="Freeform 110">
                  <a:extLst>
                    <a:ext uri="{FF2B5EF4-FFF2-40B4-BE49-F238E27FC236}">
                      <a16:creationId xmlns:a16="http://schemas.microsoft.com/office/drawing/2014/main" id="{FEE7CA43-AB5D-46CE-B435-91ED7CACDC4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39075" y="1689100"/>
                  <a:ext cx="103188" cy="73025"/>
                </a:xfrm>
                <a:custGeom>
                  <a:avLst/>
                  <a:gdLst>
                    <a:gd name="T0" fmla="*/ 241 w 251"/>
                    <a:gd name="T1" fmla="*/ 2 h 88"/>
                    <a:gd name="T2" fmla="*/ 228 w 251"/>
                    <a:gd name="T3" fmla="*/ 36 h 88"/>
                    <a:gd name="T4" fmla="*/ 31 w 251"/>
                    <a:gd name="T5" fmla="*/ 85 h 88"/>
                    <a:gd name="T6" fmla="*/ 3 w 251"/>
                    <a:gd name="T7" fmla="*/ 72 h 88"/>
                    <a:gd name="T8" fmla="*/ 21 w 251"/>
                    <a:gd name="T9" fmla="*/ 51 h 88"/>
                    <a:gd name="T10" fmla="*/ 222 w 251"/>
                    <a:gd name="T11" fmla="*/ 1 h 88"/>
                    <a:gd name="T12" fmla="*/ 241 w 251"/>
                    <a:gd name="T13" fmla="*/ 2 h 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1" h="88">
                      <a:moveTo>
                        <a:pt x="241" y="2"/>
                      </a:moveTo>
                      <a:cubicBezTo>
                        <a:pt x="251" y="23"/>
                        <a:pt x="243" y="32"/>
                        <a:pt x="228" y="36"/>
                      </a:cubicBezTo>
                      <a:cubicBezTo>
                        <a:pt x="162" y="52"/>
                        <a:pt x="97" y="69"/>
                        <a:pt x="31" y="85"/>
                      </a:cubicBezTo>
                      <a:cubicBezTo>
                        <a:pt x="19" y="87"/>
                        <a:pt x="7" y="88"/>
                        <a:pt x="3" y="72"/>
                      </a:cubicBezTo>
                      <a:cubicBezTo>
                        <a:pt x="0" y="57"/>
                        <a:pt x="11" y="53"/>
                        <a:pt x="21" y="51"/>
                      </a:cubicBezTo>
                      <a:cubicBezTo>
                        <a:pt x="88" y="34"/>
                        <a:pt x="155" y="17"/>
                        <a:pt x="222" y="1"/>
                      </a:cubicBezTo>
                      <a:cubicBezTo>
                        <a:pt x="228" y="0"/>
                        <a:pt x="234" y="2"/>
                        <a:pt x="241" y="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6" name="Freeform 111">
                  <a:extLst>
                    <a:ext uri="{FF2B5EF4-FFF2-40B4-BE49-F238E27FC236}">
                      <a16:creationId xmlns:a16="http://schemas.microsoft.com/office/drawing/2014/main" id="{CDE48E1F-49B0-4DC1-B56A-52871089CC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29575" y="1565275"/>
                  <a:ext cx="100013" cy="92075"/>
                </a:xfrm>
                <a:custGeom>
                  <a:avLst/>
                  <a:gdLst>
                    <a:gd name="T0" fmla="*/ 228 w 244"/>
                    <a:gd name="T1" fmla="*/ 0 h 111"/>
                    <a:gd name="T2" fmla="*/ 224 w 244"/>
                    <a:gd name="T3" fmla="*/ 37 h 111"/>
                    <a:gd name="T4" fmla="*/ 29 w 244"/>
                    <a:gd name="T5" fmla="*/ 107 h 111"/>
                    <a:gd name="T6" fmla="*/ 14 w 244"/>
                    <a:gd name="T7" fmla="*/ 109 h 111"/>
                    <a:gd name="T8" fmla="*/ 2 w 244"/>
                    <a:gd name="T9" fmla="*/ 95 h 111"/>
                    <a:gd name="T10" fmla="*/ 5 w 244"/>
                    <a:gd name="T11" fmla="*/ 81 h 111"/>
                    <a:gd name="T12" fmla="*/ 19 w 244"/>
                    <a:gd name="T13" fmla="*/ 74 h 111"/>
                    <a:gd name="T14" fmla="*/ 228 w 244"/>
                    <a:gd name="T15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44" h="111">
                      <a:moveTo>
                        <a:pt x="228" y="0"/>
                      </a:moveTo>
                      <a:cubicBezTo>
                        <a:pt x="239" y="17"/>
                        <a:pt x="244" y="30"/>
                        <a:pt x="224" y="37"/>
                      </a:cubicBezTo>
                      <a:cubicBezTo>
                        <a:pt x="159" y="61"/>
                        <a:pt x="94" y="84"/>
                        <a:pt x="29" y="107"/>
                      </a:cubicBezTo>
                      <a:cubicBezTo>
                        <a:pt x="25" y="109"/>
                        <a:pt x="18" y="111"/>
                        <a:pt x="14" y="109"/>
                      </a:cubicBezTo>
                      <a:cubicBezTo>
                        <a:pt x="9" y="106"/>
                        <a:pt x="4" y="101"/>
                        <a:pt x="2" y="95"/>
                      </a:cubicBezTo>
                      <a:cubicBezTo>
                        <a:pt x="0" y="92"/>
                        <a:pt x="2" y="85"/>
                        <a:pt x="5" y="81"/>
                      </a:cubicBezTo>
                      <a:cubicBezTo>
                        <a:pt x="8" y="78"/>
                        <a:pt x="14" y="75"/>
                        <a:pt x="19" y="74"/>
                      </a:cubicBezTo>
                      <a:cubicBezTo>
                        <a:pt x="87" y="49"/>
                        <a:pt x="156" y="25"/>
                        <a:pt x="22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7" name="Freeform 112">
                  <a:extLst>
                    <a:ext uri="{FF2B5EF4-FFF2-40B4-BE49-F238E27FC236}">
                      <a16:creationId xmlns:a16="http://schemas.microsoft.com/office/drawing/2014/main" id="{E9EA0E3A-7B55-4821-B665-867168373D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35888" y="1001713"/>
                  <a:ext cx="71438" cy="44450"/>
                </a:xfrm>
                <a:custGeom>
                  <a:avLst/>
                  <a:gdLst>
                    <a:gd name="T0" fmla="*/ 172 w 172"/>
                    <a:gd name="T1" fmla="*/ 45 h 54"/>
                    <a:gd name="T2" fmla="*/ 157 w 172"/>
                    <a:gd name="T3" fmla="*/ 53 h 54"/>
                    <a:gd name="T4" fmla="*/ 0 w 172"/>
                    <a:gd name="T5" fmla="*/ 16 h 54"/>
                    <a:gd name="T6" fmla="*/ 16 w 172"/>
                    <a:gd name="T7" fmla="*/ 0 h 54"/>
                    <a:gd name="T8" fmla="*/ 171 w 172"/>
                    <a:gd name="T9" fmla="*/ 33 h 54"/>
                    <a:gd name="T10" fmla="*/ 172 w 172"/>
                    <a:gd name="T11" fmla="*/ 45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2" h="54">
                      <a:moveTo>
                        <a:pt x="172" y="45"/>
                      </a:moveTo>
                      <a:cubicBezTo>
                        <a:pt x="167" y="48"/>
                        <a:pt x="161" y="54"/>
                        <a:pt x="157" y="53"/>
                      </a:cubicBezTo>
                      <a:cubicBezTo>
                        <a:pt x="105" y="45"/>
                        <a:pt x="54" y="35"/>
                        <a:pt x="0" y="16"/>
                      </a:cubicBezTo>
                      <a:cubicBezTo>
                        <a:pt x="8" y="8"/>
                        <a:pt x="12" y="0"/>
                        <a:pt x="16" y="0"/>
                      </a:cubicBezTo>
                      <a:cubicBezTo>
                        <a:pt x="69" y="3"/>
                        <a:pt x="120" y="19"/>
                        <a:pt x="171" y="33"/>
                      </a:cubicBezTo>
                      <a:cubicBezTo>
                        <a:pt x="172" y="37"/>
                        <a:pt x="172" y="41"/>
                        <a:pt x="172" y="4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8" name="Freeform 113">
                  <a:extLst>
                    <a:ext uri="{FF2B5EF4-FFF2-40B4-BE49-F238E27FC236}">
                      <a16:creationId xmlns:a16="http://schemas.microsoft.com/office/drawing/2014/main" id="{2E4423BD-43C3-408C-A3A3-E7C3952686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80300" y="890588"/>
                  <a:ext cx="71438" cy="44450"/>
                </a:xfrm>
                <a:custGeom>
                  <a:avLst/>
                  <a:gdLst>
                    <a:gd name="T0" fmla="*/ 171 w 171"/>
                    <a:gd name="T1" fmla="*/ 35 h 54"/>
                    <a:gd name="T2" fmla="*/ 150 w 171"/>
                    <a:gd name="T3" fmla="*/ 53 h 54"/>
                    <a:gd name="T4" fmla="*/ 9 w 171"/>
                    <a:gd name="T5" fmla="*/ 25 h 54"/>
                    <a:gd name="T6" fmla="*/ 1 w 171"/>
                    <a:gd name="T7" fmla="*/ 10 h 54"/>
                    <a:gd name="T8" fmla="*/ 14 w 171"/>
                    <a:gd name="T9" fmla="*/ 0 h 54"/>
                    <a:gd name="T10" fmla="*/ 171 w 171"/>
                    <a:gd name="T11" fmla="*/ 35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1" h="54">
                      <a:moveTo>
                        <a:pt x="171" y="35"/>
                      </a:moveTo>
                      <a:cubicBezTo>
                        <a:pt x="160" y="45"/>
                        <a:pt x="154" y="54"/>
                        <a:pt x="150" y="53"/>
                      </a:cubicBezTo>
                      <a:cubicBezTo>
                        <a:pt x="103" y="45"/>
                        <a:pt x="56" y="35"/>
                        <a:pt x="9" y="25"/>
                      </a:cubicBezTo>
                      <a:cubicBezTo>
                        <a:pt x="5" y="24"/>
                        <a:pt x="0" y="15"/>
                        <a:pt x="1" y="10"/>
                      </a:cubicBezTo>
                      <a:cubicBezTo>
                        <a:pt x="1" y="6"/>
                        <a:pt x="10" y="0"/>
                        <a:pt x="14" y="0"/>
                      </a:cubicBezTo>
                      <a:cubicBezTo>
                        <a:pt x="64" y="10"/>
                        <a:pt x="115" y="17"/>
                        <a:pt x="171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29" name="Freeform 114">
                  <a:extLst>
                    <a:ext uri="{FF2B5EF4-FFF2-40B4-BE49-F238E27FC236}">
                      <a16:creationId xmlns:a16="http://schemas.microsoft.com/office/drawing/2014/main" id="{6D125CAA-8086-4607-8EC4-E691CBEB2C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10475" y="942975"/>
                  <a:ext cx="68263" cy="46038"/>
                </a:xfrm>
                <a:custGeom>
                  <a:avLst/>
                  <a:gdLst>
                    <a:gd name="T0" fmla="*/ 167 w 167"/>
                    <a:gd name="T1" fmla="*/ 46 h 56"/>
                    <a:gd name="T2" fmla="*/ 149 w 167"/>
                    <a:gd name="T3" fmla="*/ 55 h 56"/>
                    <a:gd name="T4" fmla="*/ 10 w 167"/>
                    <a:gd name="T5" fmla="*/ 25 h 56"/>
                    <a:gd name="T6" fmla="*/ 0 w 167"/>
                    <a:gd name="T7" fmla="*/ 11 h 56"/>
                    <a:gd name="T8" fmla="*/ 14 w 167"/>
                    <a:gd name="T9" fmla="*/ 1 h 56"/>
                    <a:gd name="T10" fmla="*/ 153 w 167"/>
                    <a:gd name="T11" fmla="*/ 31 h 56"/>
                    <a:gd name="T12" fmla="*/ 167 w 167"/>
                    <a:gd name="T13" fmla="*/ 46 h 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7" h="56">
                      <a:moveTo>
                        <a:pt x="167" y="46"/>
                      </a:moveTo>
                      <a:cubicBezTo>
                        <a:pt x="159" y="50"/>
                        <a:pt x="153" y="56"/>
                        <a:pt x="149" y="55"/>
                      </a:cubicBezTo>
                      <a:cubicBezTo>
                        <a:pt x="102" y="46"/>
                        <a:pt x="56" y="36"/>
                        <a:pt x="10" y="25"/>
                      </a:cubicBezTo>
                      <a:cubicBezTo>
                        <a:pt x="5" y="24"/>
                        <a:pt x="0" y="15"/>
                        <a:pt x="0" y="11"/>
                      </a:cubicBezTo>
                      <a:cubicBezTo>
                        <a:pt x="1" y="7"/>
                        <a:pt x="10" y="0"/>
                        <a:pt x="14" y="1"/>
                      </a:cubicBezTo>
                      <a:cubicBezTo>
                        <a:pt x="61" y="10"/>
                        <a:pt x="107" y="20"/>
                        <a:pt x="153" y="31"/>
                      </a:cubicBezTo>
                      <a:cubicBezTo>
                        <a:pt x="158" y="32"/>
                        <a:pt x="161" y="39"/>
                        <a:pt x="167" y="4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0" name="Freeform 115">
                  <a:extLst>
                    <a:ext uri="{FF2B5EF4-FFF2-40B4-BE49-F238E27FC236}">
                      <a16:creationId xmlns:a16="http://schemas.microsoft.com/office/drawing/2014/main" id="{128DDF03-060F-4DF4-AFA9-8067F61E921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51713" y="835025"/>
                  <a:ext cx="71438" cy="46038"/>
                </a:xfrm>
                <a:custGeom>
                  <a:avLst/>
                  <a:gdLst>
                    <a:gd name="T0" fmla="*/ 8 w 175"/>
                    <a:gd name="T1" fmla="*/ 0 h 57"/>
                    <a:gd name="T2" fmla="*/ 175 w 175"/>
                    <a:gd name="T3" fmla="*/ 41 h 57"/>
                    <a:gd name="T4" fmla="*/ 151 w 175"/>
                    <a:gd name="T5" fmla="*/ 56 h 57"/>
                    <a:gd name="T6" fmla="*/ 14 w 175"/>
                    <a:gd name="T7" fmla="*/ 27 h 57"/>
                    <a:gd name="T8" fmla="*/ 0 w 175"/>
                    <a:gd name="T9" fmla="*/ 10 h 57"/>
                    <a:gd name="T10" fmla="*/ 8 w 175"/>
                    <a:gd name="T11" fmla="*/ 0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75" h="57">
                      <a:moveTo>
                        <a:pt x="8" y="0"/>
                      </a:moveTo>
                      <a:cubicBezTo>
                        <a:pt x="61" y="10"/>
                        <a:pt x="115" y="19"/>
                        <a:pt x="175" y="41"/>
                      </a:cubicBezTo>
                      <a:cubicBezTo>
                        <a:pt x="162" y="50"/>
                        <a:pt x="155" y="57"/>
                        <a:pt x="151" y="56"/>
                      </a:cubicBezTo>
                      <a:cubicBezTo>
                        <a:pt x="105" y="47"/>
                        <a:pt x="60" y="38"/>
                        <a:pt x="14" y="27"/>
                      </a:cubicBezTo>
                      <a:cubicBezTo>
                        <a:pt x="8" y="25"/>
                        <a:pt x="5" y="16"/>
                        <a:pt x="0" y="10"/>
                      </a:cubicBezTo>
                      <a:cubicBezTo>
                        <a:pt x="3" y="7"/>
                        <a:pt x="5" y="3"/>
                        <a:pt x="8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1" name="Freeform 116">
                  <a:extLst>
                    <a:ext uri="{FF2B5EF4-FFF2-40B4-BE49-F238E27FC236}">
                      <a16:creationId xmlns:a16="http://schemas.microsoft.com/office/drawing/2014/main" id="{90F20F5F-5F30-40DF-8B12-510DA71CE3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26300" y="760413"/>
                  <a:ext cx="65088" cy="60325"/>
                </a:xfrm>
                <a:custGeom>
                  <a:avLst/>
                  <a:gdLst>
                    <a:gd name="T0" fmla="*/ 160 w 160"/>
                    <a:gd name="T1" fmla="*/ 56 h 74"/>
                    <a:gd name="T2" fmla="*/ 135 w 160"/>
                    <a:gd name="T3" fmla="*/ 70 h 74"/>
                    <a:gd name="T4" fmla="*/ 15 w 160"/>
                    <a:gd name="T5" fmla="*/ 28 h 74"/>
                    <a:gd name="T6" fmla="*/ 8 w 160"/>
                    <a:gd name="T7" fmla="*/ 25 h 74"/>
                    <a:gd name="T8" fmla="*/ 0 w 160"/>
                    <a:gd name="T9" fmla="*/ 9 h 74"/>
                    <a:gd name="T10" fmla="*/ 19 w 160"/>
                    <a:gd name="T11" fmla="*/ 2 h 74"/>
                    <a:gd name="T12" fmla="*/ 74 w 160"/>
                    <a:gd name="T13" fmla="*/ 22 h 74"/>
                    <a:gd name="T14" fmla="*/ 138 w 160"/>
                    <a:gd name="T15" fmla="*/ 43 h 74"/>
                    <a:gd name="T16" fmla="*/ 160 w 160"/>
                    <a:gd name="T17" fmla="*/ 56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60" h="74">
                      <a:moveTo>
                        <a:pt x="160" y="56"/>
                      </a:moveTo>
                      <a:cubicBezTo>
                        <a:pt x="156" y="74"/>
                        <a:pt x="145" y="74"/>
                        <a:pt x="135" y="70"/>
                      </a:cubicBezTo>
                      <a:cubicBezTo>
                        <a:pt x="95" y="57"/>
                        <a:pt x="55" y="43"/>
                        <a:pt x="15" y="28"/>
                      </a:cubicBezTo>
                      <a:cubicBezTo>
                        <a:pt x="13" y="28"/>
                        <a:pt x="9" y="27"/>
                        <a:pt x="8" y="25"/>
                      </a:cubicBezTo>
                      <a:cubicBezTo>
                        <a:pt x="5" y="20"/>
                        <a:pt x="2" y="14"/>
                        <a:pt x="0" y="9"/>
                      </a:cubicBezTo>
                      <a:cubicBezTo>
                        <a:pt x="6" y="6"/>
                        <a:pt x="13" y="0"/>
                        <a:pt x="19" y="2"/>
                      </a:cubicBezTo>
                      <a:cubicBezTo>
                        <a:pt x="38" y="7"/>
                        <a:pt x="56" y="16"/>
                        <a:pt x="74" y="22"/>
                      </a:cubicBezTo>
                      <a:cubicBezTo>
                        <a:pt x="96" y="30"/>
                        <a:pt x="117" y="36"/>
                        <a:pt x="138" y="43"/>
                      </a:cubicBezTo>
                      <a:cubicBezTo>
                        <a:pt x="146" y="46"/>
                        <a:pt x="153" y="52"/>
                        <a:pt x="160" y="5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2" name="Freeform 117">
                  <a:extLst>
                    <a:ext uri="{FF2B5EF4-FFF2-40B4-BE49-F238E27FC236}">
                      <a16:creationId xmlns:a16="http://schemas.microsoft.com/office/drawing/2014/main" id="{3698BF77-C4B8-4CA1-BBD2-7066B52F4A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66100" y="1408113"/>
                  <a:ext cx="42863" cy="109538"/>
                </a:xfrm>
                <a:custGeom>
                  <a:avLst/>
                  <a:gdLst>
                    <a:gd name="T0" fmla="*/ 0 w 103"/>
                    <a:gd name="T1" fmla="*/ 133 h 133"/>
                    <a:gd name="T2" fmla="*/ 13 w 103"/>
                    <a:gd name="T3" fmla="*/ 109 h 133"/>
                    <a:gd name="T4" fmla="*/ 78 w 103"/>
                    <a:gd name="T5" fmla="*/ 11 h 133"/>
                    <a:gd name="T6" fmla="*/ 95 w 103"/>
                    <a:gd name="T7" fmla="*/ 0 h 133"/>
                    <a:gd name="T8" fmla="*/ 103 w 103"/>
                    <a:gd name="T9" fmla="*/ 20 h 133"/>
                    <a:gd name="T10" fmla="*/ 0 w 103"/>
                    <a:gd name="T11" fmla="*/ 133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3" h="133">
                      <a:moveTo>
                        <a:pt x="0" y="133"/>
                      </a:moveTo>
                      <a:cubicBezTo>
                        <a:pt x="5" y="125"/>
                        <a:pt x="7" y="115"/>
                        <a:pt x="13" y="109"/>
                      </a:cubicBezTo>
                      <a:cubicBezTo>
                        <a:pt x="42" y="81"/>
                        <a:pt x="68" y="52"/>
                        <a:pt x="78" y="11"/>
                      </a:cubicBezTo>
                      <a:cubicBezTo>
                        <a:pt x="79" y="6"/>
                        <a:pt x="89" y="3"/>
                        <a:pt x="95" y="0"/>
                      </a:cubicBezTo>
                      <a:cubicBezTo>
                        <a:pt x="98" y="6"/>
                        <a:pt x="103" y="13"/>
                        <a:pt x="103" y="20"/>
                      </a:cubicBezTo>
                      <a:cubicBezTo>
                        <a:pt x="100" y="60"/>
                        <a:pt x="49" y="123"/>
                        <a:pt x="0" y="1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3" name="Freeform 118">
                  <a:extLst>
                    <a:ext uri="{FF2B5EF4-FFF2-40B4-BE49-F238E27FC236}">
                      <a16:creationId xmlns:a16="http://schemas.microsoft.com/office/drawing/2014/main" id="{0B218B50-31E9-40C4-B27D-48B7BC23C9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64475" y="1058863"/>
                  <a:ext cx="68263" cy="50800"/>
                </a:xfrm>
                <a:custGeom>
                  <a:avLst/>
                  <a:gdLst>
                    <a:gd name="T0" fmla="*/ 0 w 168"/>
                    <a:gd name="T1" fmla="*/ 8 h 61"/>
                    <a:gd name="T2" fmla="*/ 30 w 168"/>
                    <a:gd name="T3" fmla="*/ 2 h 61"/>
                    <a:gd name="T4" fmla="*/ 152 w 168"/>
                    <a:gd name="T5" fmla="*/ 34 h 61"/>
                    <a:gd name="T6" fmla="*/ 168 w 168"/>
                    <a:gd name="T7" fmla="*/ 53 h 61"/>
                    <a:gd name="T8" fmla="*/ 148 w 168"/>
                    <a:gd name="T9" fmla="*/ 60 h 61"/>
                    <a:gd name="T10" fmla="*/ 14 w 168"/>
                    <a:gd name="T11" fmla="*/ 24 h 61"/>
                    <a:gd name="T12" fmla="*/ 0 w 168"/>
                    <a:gd name="T13" fmla="*/ 8 h 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68" h="61">
                      <a:moveTo>
                        <a:pt x="0" y="8"/>
                      </a:moveTo>
                      <a:cubicBezTo>
                        <a:pt x="14" y="5"/>
                        <a:pt x="23" y="0"/>
                        <a:pt x="30" y="2"/>
                      </a:cubicBezTo>
                      <a:cubicBezTo>
                        <a:pt x="71" y="12"/>
                        <a:pt x="112" y="22"/>
                        <a:pt x="152" y="34"/>
                      </a:cubicBezTo>
                      <a:cubicBezTo>
                        <a:pt x="159" y="36"/>
                        <a:pt x="163" y="46"/>
                        <a:pt x="168" y="53"/>
                      </a:cubicBezTo>
                      <a:cubicBezTo>
                        <a:pt x="161" y="55"/>
                        <a:pt x="154" y="61"/>
                        <a:pt x="148" y="60"/>
                      </a:cubicBezTo>
                      <a:cubicBezTo>
                        <a:pt x="103" y="49"/>
                        <a:pt x="59" y="36"/>
                        <a:pt x="14" y="24"/>
                      </a:cubicBezTo>
                      <a:cubicBezTo>
                        <a:pt x="11" y="23"/>
                        <a:pt x="9" y="18"/>
                        <a:pt x="0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4" name="Freeform 119">
                  <a:extLst>
                    <a:ext uri="{FF2B5EF4-FFF2-40B4-BE49-F238E27FC236}">
                      <a16:creationId xmlns:a16="http://schemas.microsoft.com/office/drawing/2014/main" id="{00BE6978-6634-4546-8E13-5CB53A7A52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93063" y="1130300"/>
                  <a:ext cx="66675" cy="58738"/>
                </a:xfrm>
                <a:custGeom>
                  <a:avLst/>
                  <a:gdLst>
                    <a:gd name="T0" fmla="*/ 5 w 161"/>
                    <a:gd name="T1" fmla="*/ 0 h 72"/>
                    <a:gd name="T2" fmla="*/ 161 w 161"/>
                    <a:gd name="T3" fmla="*/ 51 h 72"/>
                    <a:gd name="T4" fmla="*/ 139 w 161"/>
                    <a:gd name="T5" fmla="*/ 69 h 72"/>
                    <a:gd name="T6" fmla="*/ 15 w 161"/>
                    <a:gd name="T7" fmla="*/ 26 h 72"/>
                    <a:gd name="T8" fmla="*/ 0 w 161"/>
                    <a:gd name="T9" fmla="*/ 9 h 72"/>
                    <a:gd name="T10" fmla="*/ 5 w 161"/>
                    <a:gd name="T11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1" h="72">
                      <a:moveTo>
                        <a:pt x="5" y="0"/>
                      </a:moveTo>
                      <a:cubicBezTo>
                        <a:pt x="60" y="9"/>
                        <a:pt x="111" y="29"/>
                        <a:pt x="161" y="51"/>
                      </a:cubicBezTo>
                      <a:cubicBezTo>
                        <a:pt x="161" y="71"/>
                        <a:pt x="150" y="72"/>
                        <a:pt x="139" y="69"/>
                      </a:cubicBezTo>
                      <a:cubicBezTo>
                        <a:pt x="98" y="55"/>
                        <a:pt x="56" y="41"/>
                        <a:pt x="15" y="26"/>
                      </a:cubicBezTo>
                      <a:cubicBezTo>
                        <a:pt x="9" y="24"/>
                        <a:pt x="5" y="15"/>
                        <a:pt x="0" y="9"/>
                      </a:cubicBezTo>
                      <a:cubicBezTo>
                        <a:pt x="2" y="6"/>
                        <a:pt x="3" y="3"/>
                        <a:pt x="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5" name="Freeform 120">
                  <a:extLst>
                    <a:ext uri="{FF2B5EF4-FFF2-40B4-BE49-F238E27FC236}">
                      <a16:creationId xmlns:a16="http://schemas.microsoft.com/office/drawing/2014/main" id="{71271E2D-BF88-4402-8DC8-8DA21DB7A5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12125" y="1225550"/>
                  <a:ext cx="63500" cy="79375"/>
                </a:xfrm>
                <a:custGeom>
                  <a:avLst/>
                  <a:gdLst>
                    <a:gd name="T0" fmla="*/ 0 w 153"/>
                    <a:gd name="T1" fmla="*/ 12 h 97"/>
                    <a:gd name="T2" fmla="*/ 28 w 153"/>
                    <a:gd name="T3" fmla="*/ 2 h 97"/>
                    <a:gd name="T4" fmla="*/ 149 w 153"/>
                    <a:gd name="T5" fmla="*/ 75 h 97"/>
                    <a:gd name="T6" fmla="*/ 153 w 153"/>
                    <a:gd name="T7" fmla="*/ 95 h 97"/>
                    <a:gd name="T8" fmla="*/ 135 w 153"/>
                    <a:gd name="T9" fmla="*/ 96 h 97"/>
                    <a:gd name="T10" fmla="*/ 125 w 153"/>
                    <a:gd name="T11" fmla="*/ 90 h 97"/>
                    <a:gd name="T12" fmla="*/ 0 w 153"/>
                    <a:gd name="T13" fmla="*/ 12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3" h="97">
                      <a:moveTo>
                        <a:pt x="0" y="12"/>
                      </a:moveTo>
                      <a:cubicBezTo>
                        <a:pt x="15" y="6"/>
                        <a:pt x="24" y="0"/>
                        <a:pt x="28" y="2"/>
                      </a:cubicBezTo>
                      <a:cubicBezTo>
                        <a:pt x="69" y="25"/>
                        <a:pt x="109" y="50"/>
                        <a:pt x="149" y="75"/>
                      </a:cubicBezTo>
                      <a:cubicBezTo>
                        <a:pt x="153" y="78"/>
                        <a:pt x="152" y="88"/>
                        <a:pt x="153" y="95"/>
                      </a:cubicBezTo>
                      <a:cubicBezTo>
                        <a:pt x="147" y="96"/>
                        <a:pt x="141" y="97"/>
                        <a:pt x="135" y="96"/>
                      </a:cubicBezTo>
                      <a:cubicBezTo>
                        <a:pt x="132" y="96"/>
                        <a:pt x="129" y="92"/>
                        <a:pt x="125" y="90"/>
                      </a:cubicBezTo>
                      <a:cubicBezTo>
                        <a:pt x="87" y="66"/>
                        <a:pt x="48" y="41"/>
                        <a:pt x="0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6" name="Freeform 121">
                  <a:extLst>
                    <a:ext uri="{FF2B5EF4-FFF2-40B4-BE49-F238E27FC236}">
                      <a16:creationId xmlns:a16="http://schemas.microsoft.com/office/drawing/2014/main" id="{A6BE3D59-AC66-43BA-A734-4C8D557399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93013" y="354013"/>
                  <a:ext cx="38100" cy="28575"/>
                </a:xfrm>
                <a:custGeom>
                  <a:avLst/>
                  <a:gdLst>
                    <a:gd name="T0" fmla="*/ 0 w 94"/>
                    <a:gd name="T1" fmla="*/ 17 h 35"/>
                    <a:gd name="T2" fmla="*/ 87 w 94"/>
                    <a:gd name="T3" fmla="*/ 4 h 35"/>
                    <a:gd name="T4" fmla="*/ 94 w 94"/>
                    <a:gd name="T5" fmla="*/ 18 h 35"/>
                    <a:gd name="T6" fmla="*/ 16 w 94"/>
                    <a:gd name="T7" fmla="*/ 34 h 35"/>
                    <a:gd name="T8" fmla="*/ 0 w 94"/>
                    <a:gd name="T9" fmla="*/ 17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4" h="35">
                      <a:moveTo>
                        <a:pt x="0" y="17"/>
                      </a:moveTo>
                      <a:cubicBezTo>
                        <a:pt x="33" y="4"/>
                        <a:pt x="60" y="0"/>
                        <a:pt x="87" y="4"/>
                      </a:cubicBezTo>
                      <a:cubicBezTo>
                        <a:pt x="90" y="5"/>
                        <a:pt x="91" y="13"/>
                        <a:pt x="94" y="18"/>
                      </a:cubicBezTo>
                      <a:cubicBezTo>
                        <a:pt x="69" y="35"/>
                        <a:pt x="42" y="33"/>
                        <a:pt x="16" y="34"/>
                      </a:cubicBezTo>
                      <a:cubicBezTo>
                        <a:pt x="13" y="35"/>
                        <a:pt x="8" y="27"/>
                        <a:pt x="0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7" name="Freeform 122">
                  <a:extLst>
                    <a:ext uri="{FF2B5EF4-FFF2-40B4-BE49-F238E27FC236}">
                      <a16:creationId xmlns:a16="http://schemas.microsoft.com/office/drawing/2014/main" id="{F016317D-CA6A-4780-A1BC-3A99A663BF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85125" y="242888"/>
                  <a:ext cx="38100" cy="31750"/>
                </a:xfrm>
                <a:custGeom>
                  <a:avLst/>
                  <a:gdLst>
                    <a:gd name="T0" fmla="*/ 85 w 92"/>
                    <a:gd name="T1" fmla="*/ 0 h 39"/>
                    <a:gd name="T2" fmla="*/ 61 w 92"/>
                    <a:gd name="T3" fmla="*/ 31 h 39"/>
                    <a:gd name="T4" fmla="*/ 0 w 92"/>
                    <a:gd name="T5" fmla="*/ 13 h 39"/>
                    <a:gd name="T6" fmla="*/ 85 w 92"/>
                    <a:gd name="T7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2" h="39">
                      <a:moveTo>
                        <a:pt x="85" y="0"/>
                      </a:moveTo>
                      <a:cubicBezTo>
                        <a:pt x="92" y="29"/>
                        <a:pt x="75" y="29"/>
                        <a:pt x="61" y="31"/>
                      </a:cubicBezTo>
                      <a:cubicBezTo>
                        <a:pt x="13" y="39"/>
                        <a:pt x="13" y="39"/>
                        <a:pt x="0" y="13"/>
                      </a:cubicBezTo>
                      <a:cubicBezTo>
                        <a:pt x="29" y="9"/>
                        <a:pt x="55" y="5"/>
                        <a:pt x="85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8" name="Freeform 123">
                  <a:extLst>
                    <a:ext uri="{FF2B5EF4-FFF2-40B4-BE49-F238E27FC236}">
                      <a16:creationId xmlns:a16="http://schemas.microsoft.com/office/drawing/2014/main" id="{4A7B8A27-88BB-41DF-88F4-3E7E349C58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529513" y="376238"/>
                  <a:ext cx="36513" cy="26988"/>
                </a:xfrm>
                <a:custGeom>
                  <a:avLst/>
                  <a:gdLst>
                    <a:gd name="T0" fmla="*/ 0 w 90"/>
                    <a:gd name="T1" fmla="*/ 13 h 34"/>
                    <a:gd name="T2" fmla="*/ 77 w 90"/>
                    <a:gd name="T3" fmla="*/ 1 h 34"/>
                    <a:gd name="T4" fmla="*/ 89 w 90"/>
                    <a:gd name="T5" fmla="*/ 9 h 34"/>
                    <a:gd name="T6" fmla="*/ 84 w 90"/>
                    <a:gd name="T7" fmla="*/ 22 h 34"/>
                    <a:gd name="T8" fmla="*/ 11 w 90"/>
                    <a:gd name="T9" fmla="*/ 34 h 34"/>
                    <a:gd name="T10" fmla="*/ 0 w 90"/>
                    <a:gd name="T11" fmla="*/ 13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0" h="34">
                      <a:moveTo>
                        <a:pt x="0" y="13"/>
                      </a:moveTo>
                      <a:cubicBezTo>
                        <a:pt x="29" y="8"/>
                        <a:pt x="53" y="4"/>
                        <a:pt x="77" y="1"/>
                      </a:cubicBezTo>
                      <a:cubicBezTo>
                        <a:pt x="81" y="0"/>
                        <a:pt x="87" y="5"/>
                        <a:pt x="89" y="9"/>
                      </a:cubicBezTo>
                      <a:cubicBezTo>
                        <a:pt x="90" y="12"/>
                        <a:pt x="87" y="21"/>
                        <a:pt x="84" y="22"/>
                      </a:cubicBezTo>
                      <a:cubicBezTo>
                        <a:pt x="60" y="26"/>
                        <a:pt x="36" y="31"/>
                        <a:pt x="11" y="34"/>
                      </a:cubicBezTo>
                      <a:cubicBezTo>
                        <a:pt x="9" y="34"/>
                        <a:pt x="6" y="24"/>
                        <a:pt x="0" y="1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39" name="Freeform 124">
                  <a:extLst>
                    <a:ext uri="{FF2B5EF4-FFF2-40B4-BE49-F238E27FC236}">
                      <a16:creationId xmlns:a16="http://schemas.microsoft.com/office/drawing/2014/main" id="{FAEAAECE-E43B-4DEB-A714-FD15024B5C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66013" y="393700"/>
                  <a:ext cx="38100" cy="34925"/>
                </a:xfrm>
                <a:custGeom>
                  <a:avLst/>
                  <a:gdLst>
                    <a:gd name="T0" fmla="*/ 96 w 96"/>
                    <a:gd name="T1" fmla="*/ 20 h 44"/>
                    <a:gd name="T2" fmla="*/ 0 w 96"/>
                    <a:gd name="T3" fmla="*/ 38 h 44"/>
                    <a:gd name="T4" fmla="*/ 96 w 96"/>
                    <a:gd name="T5" fmla="*/ 2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96" h="44">
                      <a:moveTo>
                        <a:pt x="96" y="20"/>
                      </a:moveTo>
                      <a:cubicBezTo>
                        <a:pt x="61" y="38"/>
                        <a:pt x="33" y="44"/>
                        <a:pt x="0" y="38"/>
                      </a:cubicBezTo>
                      <a:cubicBezTo>
                        <a:pt x="15" y="9"/>
                        <a:pt x="58" y="0"/>
                        <a:pt x="96" y="2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0" name="Freeform 125">
                  <a:extLst>
                    <a:ext uri="{FF2B5EF4-FFF2-40B4-BE49-F238E27FC236}">
                      <a16:creationId xmlns:a16="http://schemas.microsoft.com/office/drawing/2014/main" id="{52851D8B-5297-49B4-A9A2-B825AC809E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400925" y="419100"/>
                  <a:ext cx="34925" cy="33338"/>
                </a:xfrm>
                <a:custGeom>
                  <a:avLst/>
                  <a:gdLst>
                    <a:gd name="T0" fmla="*/ 84 w 84"/>
                    <a:gd name="T1" fmla="*/ 8 h 41"/>
                    <a:gd name="T2" fmla="*/ 82 w 84"/>
                    <a:gd name="T3" fmla="*/ 23 h 41"/>
                    <a:gd name="T4" fmla="*/ 10 w 84"/>
                    <a:gd name="T5" fmla="*/ 41 h 41"/>
                    <a:gd name="T6" fmla="*/ 0 w 84"/>
                    <a:gd name="T7" fmla="*/ 31 h 41"/>
                    <a:gd name="T8" fmla="*/ 6 w 84"/>
                    <a:gd name="T9" fmla="*/ 18 h 41"/>
                    <a:gd name="T10" fmla="*/ 84 w 84"/>
                    <a:gd name="T11" fmla="*/ 8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4" h="41">
                      <a:moveTo>
                        <a:pt x="84" y="8"/>
                      </a:moveTo>
                      <a:cubicBezTo>
                        <a:pt x="83" y="14"/>
                        <a:pt x="84" y="23"/>
                        <a:pt x="82" y="23"/>
                      </a:cubicBezTo>
                      <a:cubicBezTo>
                        <a:pt x="58" y="30"/>
                        <a:pt x="34" y="36"/>
                        <a:pt x="10" y="41"/>
                      </a:cubicBezTo>
                      <a:cubicBezTo>
                        <a:pt x="7" y="41"/>
                        <a:pt x="1" y="35"/>
                        <a:pt x="0" y="31"/>
                      </a:cubicBezTo>
                      <a:cubicBezTo>
                        <a:pt x="0" y="27"/>
                        <a:pt x="3" y="19"/>
                        <a:pt x="6" y="18"/>
                      </a:cubicBezTo>
                      <a:cubicBezTo>
                        <a:pt x="31" y="11"/>
                        <a:pt x="56" y="0"/>
                        <a:pt x="84" y="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1" name="Freeform 126">
                  <a:extLst>
                    <a:ext uri="{FF2B5EF4-FFF2-40B4-BE49-F238E27FC236}">
                      <a16:creationId xmlns:a16="http://schemas.microsoft.com/office/drawing/2014/main" id="{50D7990F-8C08-47C0-B72B-0B2C552F1C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337425" y="447675"/>
                  <a:ext cx="36513" cy="41275"/>
                </a:xfrm>
                <a:custGeom>
                  <a:avLst/>
                  <a:gdLst>
                    <a:gd name="T0" fmla="*/ 0 w 89"/>
                    <a:gd name="T1" fmla="*/ 27 h 49"/>
                    <a:gd name="T2" fmla="*/ 82 w 89"/>
                    <a:gd name="T3" fmla="*/ 3 h 49"/>
                    <a:gd name="T4" fmla="*/ 66 w 89"/>
                    <a:gd name="T5" fmla="*/ 29 h 49"/>
                    <a:gd name="T6" fmla="*/ 0 w 89"/>
                    <a:gd name="T7" fmla="*/ 27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9" h="49">
                      <a:moveTo>
                        <a:pt x="0" y="27"/>
                      </a:moveTo>
                      <a:cubicBezTo>
                        <a:pt x="26" y="9"/>
                        <a:pt x="53" y="0"/>
                        <a:pt x="82" y="3"/>
                      </a:cubicBezTo>
                      <a:cubicBezTo>
                        <a:pt x="89" y="22"/>
                        <a:pt x="78" y="27"/>
                        <a:pt x="66" y="29"/>
                      </a:cubicBezTo>
                      <a:cubicBezTo>
                        <a:pt x="44" y="33"/>
                        <a:pt x="21" y="49"/>
                        <a:pt x="0" y="2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2" name="Freeform 127">
                  <a:extLst>
                    <a:ext uri="{FF2B5EF4-FFF2-40B4-BE49-F238E27FC236}">
                      <a16:creationId xmlns:a16="http://schemas.microsoft.com/office/drawing/2014/main" id="{CE249E05-B187-42C5-AAB0-832328791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83563" y="182563"/>
                  <a:ext cx="34925" cy="31750"/>
                </a:xfrm>
                <a:custGeom>
                  <a:avLst/>
                  <a:gdLst>
                    <a:gd name="T0" fmla="*/ 85 w 85"/>
                    <a:gd name="T1" fmla="*/ 22 h 38"/>
                    <a:gd name="T2" fmla="*/ 4 w 85"/>
                    <a:gd name="T3" fmla="*/ 37 h 38"/>
                    <a:gd name="T4" fmla="*/ 0 w 85"/>
                    <a:gd name="T5" fmla="*/ 19 h 38"/>
                    <a:gd name="T6" fmla="*/ 53 w 85"/>
                    <a:gd name="T7" fmla="*/ 6 h 38"/>
                    <a:gd name="T8" fmla="*/ 85 w 85"/>
                    <a:gd name="T9" fmla="*/ 22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5" h="38">
                      <a:moveTo>
                        <a:pt x="85" y="22"/>
                      </a:moveTo>
                      <a:cubicBezTo>
                        <a:pt x="60" y="37"/>
                        <a:pt x="32" y="38"/>
                        <a:pt x="4" y="37"/>
                      </a:cubicBezTo>
                      <a:cubicBezTo>
                        <a:pt x="3" y="37"/>
                        <a:pt x="0" y="19"/>
                        <a:pt x="0" y="19"/>
                      </a:cubicBezTo>
                      <a:cubicBezTo>
                        <a:pt x="18" y="14"/>
                        <a:pt x="35" y="9"/>
                        <a:pt x="53" y="6"/>
                      </a:cubicBezTo>
                      <a:cubicBezTo>
                        <a:pt x="64" y="4"/>
                        <a:pt x="78" y="0"/>
                        <a:pt x="85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3" name="Freeform 128">
                  <a:extLst>
                    <a:ext uri="{FF2B5EF4-FFF2-40B4-BE49-F238E27FC236}">
                      <a16:creationId xmlns:a16="http://schemas.microsoft.com/office/drawing/2014/main" id="{DDF00BDF-30C9-433B-AD90-B5857F7E8C2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245475" y="165100"/>
                  <a:ext cx="38100" cy="31750"/>
                </a:xfrm>
                <a:custGeom>
                  <a:avLst/>
                  <a:gdLst>
                    <a:gd name="T0" fmla="*/ 90 w 90"/>
                    <a:gd name="T1" fmla="*/ 12 h 38"/>
                    <a:gd name="T2" fmla="*/ 0 w 90"/>
                    <a:gd name="T3" fmla="*/ 19 h 38"/>
                    <a:gd name="T4" fmla="*/ 78 w 90"/>
                    <a:gd name="T5" fmla="*/ 0 h 38"/>
                    <a:gd name="T6" fmla="*/ 90 w 90"/>
                    <a:gd name="T7" fmla="*/ 12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0" h="38">
                      <a:moveTo>
                        <a:pt x="90" y="12"/>
                      </a:moveTo>
                      <a:cubicBezTo>
                        <a:pt x="53" y="36"/>
                        <a:pt x="21" y="38"/>
                        <a:pt x="0" y="19"/>
                      </a:cubicBezTo>
                      <a:cubicBezTo>
                        <a:pt x="24" y="0"/>
                        <a:pt x="51" y="2"/>
                        <a:pt x="78" y="0"/>
                      </a:cubicBezTo>
                      <a:cubicBezTo>
                        <a:pt x="81" y="0"/>
                        <a:pt x="86" y="8"/>
                        <a:pt x="90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4" name="Freeform 129">
                  <a:extLst>
                    <a:ext uri="{FF2B5EF4-FFF2-40B4-BE49-F238E27FC236}">
                      <a16:creationId xmlns:a16="http://schemas.microsoft.com/office/drawing/2014/main" id="{5522D37A-8116-49B4-A1B5-DA6C72D04C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16888" y="207963"/>
                  <a:ext cx="36513" cy="25400"/>
                </a:xfrm>
                <a:custGeom>
                  <a:avLst/>
                  <a:gdLst>
                    <a:gd name="T0" fmla="*/ 87 w 87"/>
                    <a:gd name="T1" fmla="*/ 16 h 32"/>
                    <a:gd name="T2" fmla="*/ 62 w 87"/>
                    <a:gd name="T3" fmla="*/ 27 h 32"/>
                    <a:gd name="T4" fmla="*/ 7 w 87"/>
                    <a:gd name="T5" fmla="*/ 32 h 32"/>
                    <a:gd name="T6" fmla="*/ 1 w 87"/>
                    <a:gd name="T7" fmla="*/ 24 h 32"/>
                    <a:gd name="T8" fmla="*/ 6 w 87"/>
                    <a:gd name="T9" fmla="*/ 11 h 32"/>
                    <a:gd name="T10" fmla="*/ 87 w 87"/>
                    <a:gd name="T11" fmla="*/ 16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7" h="32">
                      <a:moveTo>
                        <a:pt x="87" y="16"/>
                      </a:moveTo>
                      <a:cubicBezTo>
                        <a:pt x="79" y="20"/>
                        <a:pt x="71" y="25"/>
                        <a:pt x="62" y="27"/>
                      </a:cubicBezTo>
                      <a:cubicBezTo>
                        <a:pt x="44" y="30"/>
                        <a:pt x="25" y="31"/>
                        <a:pt x="7" y="32"/>
                      </a:cubicBezTo>
                      <a:cubicBezTo>
                        <a:pt x="5" y="32"/>
                        <a:pt x="0" y="27"/>
                        <a:pt x="1" y="24"/>
                      </a:cubicBezTo>
                      <a:cubicBezTo>
                        <a:pt x="1" y="19"/>
                        <a:pt x="3" y="13"/>
                        <a:pt x="6" y="11"/>
                      </a:cubicBezTo>
                      <a:cubicBezTo>
                        <a:pt x="17" y="2"/>
                        <a:pt x="67" y="0"/>
                        <a:pt x="87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5" name="Freeform 130">
                  <a:extLst>
                    <a:ext uri="{FF2B5EF4-FFF2-40B4-BE49-F238E27FC236}">
                      <a16:creationId xmlns:a16="http://schemas.microsoft.com/office/drawing/2014/main" id="{C0A34A80-9120-49CD-B6D3-227FACB9FA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920038" y="263525"/>
                  <a:ext cx="38100" cy="26988"/>
                </a:xfrm>
                <a:custGeom>
                  <a:avLst/>
                  <a:gdLst>
                    <a:gd name="T0" fmla="*/ 95 w 95"/>
                    <a:gd name="T1" fmla="*/ 15 h 32"/>
                    <a:gd name="T2" fmla="*/ 9 w 95"/>
                    <a:gd name="T3" fmla="*/ 30 h 32"/>
                    <a:gd name="T4" fmla="*/ 20 w 95"/>
                    <a:gd name="T5" fmla="*/ 6 h 32"/>
                    <a:gd name="T6" fmla="*/ 82 w 95"/>
                    <a:gd name="T7" fmla="*/ 1 h 32"/>
                    <a:gd name="T8" fmla="*/ 95 w 95"/>
                    <a:gd name="T9" fmla="*/ 15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" h="32">
                      <a:moveTo>
                        <a:pt x="95" y="15"/>
                      </a:moveTo>
                      <a:cubicBezTo>
                        <a:pt x="64" y="32"/>
                        <a:pt x="36" y="32"/>
                        <a:pt x="9" y="30"/>
                      </a:cubicBezTo>
                      <a:cubicBezTo>
                        <a:pt x="0" y="14"/>
                        <a:pt x="9" y="8"/>
                        <a:pt x="20" y="6"/>
                      </a:cubicBezTo>
                      <a:cubicBezTo>
                        <a:pt x="41" y="3"/>
                        <a:pt x="62" y="1"/>
                        <a:pt x="82" y="1"/>
                      </a:cubicBezTo>
                      <a:cubicBezTo>
                        <a:pt x="85" y="0"/>
                        <a:pt x="89" y="7"/>
                        <a:pt x="95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6" name="Freeform 131">
                  <a:extLst>
                    <a:ext uri="{FF2B5EF4-FFF2-40B4-BE49-F238E27FC236}">
                      <a16:creationId xmlns:a16="http://schemas.microsoft.com/office/drawing/2014/main" id="{E6C9CAF6-B720-41E0-8D22-09D44E7F57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854950" y="280988"/>
                  <a:ext cx="36513" cy="31750"/>
                </a:xfrm>
                <a:custGeom>
                  <a:avLst/>
                  <a:gdLst>
                    <a:gd name="T0" fmla="*/ 0 w 90"/>
                    <a:gd name="T1" fmla="*/ 28 h 39"/>
                    <a:gd name="T2" fmla="*/ 16 w 90"/>
                    <a:gd name="T3" fmla="*/ 9 h 39"/>
                    <a:gd name="T4" fmla="*/ 75 w 90"/>
                    <a:gd name="T5" fmla="*/ 0 h 39"/>
                    <a:gd name="T6" fmla="*/ 89 w 90"/>
                    <a:gd name="T7" fmla="*/ 10 h 39"/>
                    <a:gd name="T8" fmla="*/ 81 w 90"/>
                    <a:gd name="T9" fmla="*/ 24 h 39"/>
                    <a:gd name="T10" fmla="*/ 0 w 90"/>
                    <a:gd name="T11" fmla="*/ 28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0" h="39">
                      <a:moveTo>
                        <a:pt x="0" y="28"/>
                      </a:moveTo>
                      <a:cubicBezTo>
                        <a:pt x="8" y="19"/>
                        <a:pt x="11" y="10"/>
                        <a:pt x="16" y="9"/>
                      </a:cubicBezTo>
                      <a:cubicBezTo>
                        <a:pt x="36" y="5"/>
                        <a:pt x="55" y="2"/>
                        <a:pt x="75" y="0"/>
                      </a:cubicBezTo>
                      <a:cubicBezTo>
                        <a:pt x="80" y="0"/>
                        <a:pt x="88" y="5"/>
                        <a:pt x="89" y="10"/>
                      </a:cubicBezTo>
                      <a:cubicBezTo>
                        <a:pt x="90" y="14"/>
                        <a:pt x="85" y="23"/>
                        <a:pt x="81" y="24"/>
                      </a:cubicBezTo>
                      <a:cubicBezTo>
                        <a:pt x="56" y="30"/>
                        <a:pt x="31" y="39"/>
                        <a:pt x="0" y="2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7" name="Freeform 132">
                  <a:extLst>
                    <a:ext uri="{FF2B5EF4-FFF2-40B4-BE49-F238E27FC236}">
                      <a16:creationId xmlns:a16="http://schemas.microsoft.com/office/drawing/2014/main" id="{D21DB0E7-AB19-4EAA-B7EE-E39AA0DA3C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91450" y="292100"/>
                  <a:ext cx="36513" cy="33338"/>
                </a:xfrm>
                <a:custGeom>
                  <a:avLst/>
                  <a:gdLst>
                    <a:gd name="T0" fmla="*/ 90 w 90"/>
                    <a:gd name="T1" fmla="*/ 26 h 41"/>
                    <a:gd name="T2" fmla="*/ 9 w 90"/>
                    <a:gd name="T3" fmla="*/ 41 h 41"/>
                    <a:gd name="T4" fmla="*/ 1 w 90"/>
                    <a:gd name="T5" fmla="*/ 29 h 41"/>
                    <a:gd name="T6" fmla="*/ 6 w 90"/>
                    <a:gd name="T7" fmla="*/ 20 h 41"/>
                    <a:gd name="T8" fmla="*/ 85 w 90"/>
                    <a:gd name="T9" fmla="*/ 14 h 41"/>
                    <a:gd name="T10" fmla="*/ 90 w 90"/>
                    <a:gd name="T11" fmla="*/ 26 h 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0" h="41">
                      <a:moveTo>
                        <a:pt x="90" y="26"/>
                      </a:moveTo>
                      <a:cubicBezTo>
                        <a:pt x="65" y="40"/>
                        <a:pt x="37" y="41"/>
                        <a:pt x="9" y="41"/>
                      </a:cubicBezTo>
                      <a:cubicBezTo>
                        <a:pt x="6" y="41"/>
                        <a:pt x="2" y="34"/>
                        <a:pt x="1" y="29"/>
                      </a:cubicBezTo>
                      <a:cubicBezTo>
                        <a:pt x="0" y="27"/>
                        <a:pt x="3" y="20"/>
                        <a:pt x="6" y="20"/>
                      </a:cubicBezTo>
                      <a:cubicBezTo>
                        <a:pt x="32" y="15"/>
                        <a:pt x="57" y="0"/>
                        <a:pt x="85" y="14"/>
                      </a:cubicBezTo>
                      <a:cubicBezTo>
                        <a:pt x="87" y="15"/>
                        <a:pt x="87" y="19"/>
                        <a:pt x="90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8" name="Freeform 133">
                  <a:extLst>
                    <a:ext uri="{FF2B5EF4-FFF2-40B4-BE49-F238E27FC236}">
                      <a16:creationId xmlns:a16="http://schemas.microsoft.com/office/drawing/2014/main" id="{7D72A775-BFCA-4238-B2BD-3E91D1A46A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659688" y="334963"/>
                  <a:ext cx="36513" cy="31750"/>
                </a:xfrm>
                <a:custGeom>
                  <a:avLst/>
                  <a:gdLst>
                    <a:gd name="T0" fmla="*/ 0 w 87"/>
                    <a:gd name="T1" fmla="*/ 17 h 37"/>
                    <a:gd name="T2" fmla="*/ 76 w 87"/>
                    <a:gd name="T3" fmla="*/ 2 h 37"/>
                    <a:gd name="T4" fmla="*/ 86 w 87"/>
                    <a:gd name="T5" fmla="*/ 11 h 37"/>
                    <a:gd name="T6" fmla="*/ 83 w 87"/>
                    <a:gd name="T7" fmla="*/ 21 h 37"/>
                    <a:gd name="T8" fmla="*/ 4 w 87"/>
                    <a:gd name="T9" fmla="*/ 29 h 37"/>
                    <a:gd name="T10" fmla="*/ 0 w 87"/>
                    <a:gd name="T11" fmla="*/ 17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7" h="37">
                      <a:moveTo>
                        <a:pt x="0" y="17"/>
                      </a:moveTo>
                      <a:cubicBezTo>
                        <a:pt x="24" y="0"/>
                        <a:pt x="50" y="3"/>
                        <a:pt x="76" y="2"/>
                      </a:cubicBezTo>
                      <a:cubicBezTo>
                        <a:pt x="79" y="2"/>
                        <a:pt x="84" y="7"/>
                        <a:pt x="86" y="11"/>
                      </a:cubicBezTo>
                      <a:cubicBezTo>
                        <a:pt x="87" y="13"/>
                        <a:pt x="85" y="19"/>
                        <a:pt x="83" y="21"/>
                      </a:cubicBezTo>
                      <a:cubicBezTo>
                        <a:pt x="72" y="31"/>
                        <a:pt x="18" y="37"/>
                        <a:pt x="4" y="29"/>
                      </a:cubicBezTo>
                      <a:cubicBezTo>
                        <a:pt x="2" y="27"/>
                        <a:pt x="2" y="22"/>
                        <a:pt x="0" y="1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49" name="Freeform 134">
                  <a:extLst>
                    <a:ext uri="{FF2B5EF4-FFF2-40B4-BE49-F238E27FC236}">
                      <a16:creationId xmlns:a16="http://schemas.microsoft.com/office/drawing/2014/main" id="{A338310B-B811-4348-A3A3-6FB4A2C6F2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440738" y="79375"/>
                  <a:ext cx="34925" cy="36513"/>
                </a:xfrm>
                <a:custGeom>
                  <a:avLst/>
                  <a:gdLst>
                    <a:gd name="T0" fmla="*/ 85 w 85"/>
                    <a:gd name="T1" fmla="*/ 11 h 44"/>
                    <a:gd name="T2" fmla="*/ 73 w 85"/>
                    <a:gd name="T3" fmla="*/ 28 h 44"/>
                    <a:gd name="T4" fmla="*/ 16 w 85"/>
                    <a:gd name="T5" fmla="*/ 43 h 44"/>
                    <a:gd name="T6" fmla="*/ 1 w 85"/>
                    <a:gd name="T7" fmla="*/ 35 h 44"/>
                    <a:gd name="T8" fmla="*/ 8 w 85"/>
                    <a:gd name="T9" fmla="*/ 20 h 44"/>
                    <a:gd name="T10" fmla="*/ 78 w 85"/>
                    <a:gd name="T11" fmla="*/ 0 h 44"/>
                    <a:gd name="T12" fmla="*/ 85 w 85"/>
                    <a:gd name="T13" fmla="*/ 11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5" h="44">
                      <a:moveTo>
                        <a:pt x="85" y="11"/>
                      </a:moveTo>
                      <a:cubicBezTo>
                        <a:pt x="81" y="17"/>
                        <a:pt x="79" y="26"/>
                        <a:pt x="73" y="28"/>
                      </a:cubicBezTo>
                      <a:cubicBezTo>
                        <a:pt x="55" y="34"/>
                        <a:pt x="35" y="39"/>
                        <a:pt x="16" y="43"/>
                      </a:cubicBezTo>
                      <a:cubicBezTo>
                        <a:pt x="11" y="44"/>
                        <a:pt x="3" y="39"/>
                        <a:pt x="1" y="35"/>
                      </a:cubicBezTo>
                      <a:cubicBezTo>
                        <a:pt x="0" y="31"/>
                        <a:pt x="4" y="21"/>
                        <a:pt x="8" y="20"/>
                      </a:cubicBezTo>
                      <a:cubicBezTo>
                        <a:pt x="31" y="12"/>
                        <a:pt x="55" y="7"/>
                        <a:pt x="78" y="0"/>
                      </a:cubicBezTo>
                      <a:cubicBezTo>
                        <a:pt x="81" y="4"/>
                        <a:pt x="83" y="7"/>
                        <a:pt x="85" y="11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0" name="Freeform 135">
                  <a:extLst>
                    <a:ext uri="{FF2B5EF4-FFF2-40B4-BE49-F238E27FC236}">
                      <a16:creationId xmlns:a16="http://schemas.microsoft.com/office/drawing/2014/main" id="{3B099DDE-66F0-4F52-891B-815ECFF19C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75650" y="111125"/>
                  <a:ext cx="36513" cy="38100"/>
                </a:xfrm>
                <a:custGeom>
                  <a:avLst/>
                  <a:gdLst>
                    <a:gd name="T0" fmla="*/ 86 w 86"/>
                    <a:gd name="T1" fmla="*/ 14 h 47"/>
                    <a:gd name="T2" fmla="*/ 0 w 86"/>
                    <a:gd name="T3" fmla="*/ 29 h 47"/>
                    <a:gd name="T4" fmla="*/ 86 w 86"/>
                    <a:gd name="T5" fmla="*/ 14 h 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6" h="47">
                      <a:moveTo>
                        <a:pt x="86" y="14"/>
                      </a:moveTo>
                      <a:cubicBezTo>
                        <a:pt x="64" y="40"/>
                        <a:pt x="23" y="47"/>
                        <a:pt x="0" y="29"/>
                      </a:cubicBezTo>
                      <a:cubicBezTo>
                        <a:pt x="24" y="6"/>
                        <a:pt x="60" y="0"/>
                        <a:pt x="86" y="1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1" name="Freeform 136">
                  <a:extLst>
                    <a:ext uri="{FF2B5EF4-FFF2-40B4-BE49-F238E27FC236}">
                      <a16:creationId xmlns:a16="http://schemas.microsoft.com/office/drawing/2014/main" id="{1857310E-E6F4-43EA-8187-2D8B0F2586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8838" y="523875"/>
                  <a:ext cx="36513" cy="41275"/>
                </a:xfrm>
                <a:custGeom>
                  <a:avLst/>
                  <a:gdLst>
                    <a:gd name="T0" fmla="*/ 0 w 92"/>
                    <a:gd name="T1" fmla="*/ 35 h 51"/>
                    <a:gd name="T2" fmla="*/ 74 w 92"/>
                    <a:gd name="T3" fmla="*/ 1 h 51"/>
                    <a:gd name="T4" fmla="*/ 90 w 92"/>
                    <a:gd name="T5" fmla="*/ 8 h 51"/>
                    <a:gd name="T6" fmla="*/ 87 w 92"/>
                    <a:gd name="T7" fmla="*/ 22 h 51"/>
                    <a:gd name="T8" fmla="*/ 19 w 92"/>
                    <a:gd name="T9" fmla="*/ 50 h 51"/>
                    <a:gd name="T10" fmla="*/ 0 w 92"/>
                    <a:gd name="T11" fmla="*/ 35 h 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2" h="51">
                      <a:moveTo>
                        <a:pt x="0" y="35"/>
                      </a:moveTo>
                      <a:cubicBezTo>
                        <a:pt x="30" y="21"/>
                        <a:pt x="52" y="10"/>
                        <a:pt x="74" y="1"/>
                      </a:cubicBezTo>
                      <a:cubicBezTo>
                        <a:pt x="78" y="0"/>
                        <a:pt x="86" y="4"/>
                        <a:pt x="90" y="8"/>
                      </a:cubicBezTo>
                      <a:cubicBezTo>
                        <a:pt x="92" y="10"/>
                        <a:pt x="90" y="20"/>
                        <a:pt x="87" y="22"/>
                      </a:cubicBezTo>
                      <a:cubicBezTo>
                        <a:pt x="65" y="32"/>
                        <a:pt x="42" y="41"/>
                        <a:pt x="19" y="50"/>
                      </a:cubicBezTo>
                      <a:cubicBezTo>
                        <a:pt x="17" y="51"/>
                        <a:pt x="12" y="44"/>
                        <a:pt x="0" y="3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2" name="Freeform 137">
                  <a:extLst>
                    <a:ext uri="{FF2B5EF4-FFF2-40B4-BE49-F238E27FC236}">
                      <a16:creationId xmlns:a16="http://schemas.microsoft.com/office/drawing/2014/main" id="{A2DB54FB-B9A2-443B-AF5E-76077A32C8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23188" y="317500"/>
                  <a:ext cx="39688" cy="25400"/>
                </a:xfrm>
                <a:custGeom>
                  <a:avLst/>
                  <a:gdLst>
                    <a:gd name="T0" fmla="*/ 0 w 98"/>
                    <a:gd name="T1" fmla="*/ 12 h 32"/>
                    <a:gd name="T2" fmla="*/ 85 w 98"/>
                    <a:gd name="T3" fmla="*/ 0 h 32"/>
                    <a:gd name="T4" fmla="*/ 80 w 98"/>
                    <a:gd name="T5" fmla="*/ 26 h 32"/>
                    <a:gd name="T6" fmla="*/ 14 w 98"/>
                    <a:gd name="T7" fmla="*/ 32 h 32"/>
                    <a:gd name="T8" fmla="*/ 0 w 98"/>
                    <a:gd name="T9" fmla="*/ 1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8" h="32">
                      <a:moveTo>
                        <a:pt x="0" y="12"/>
                      </a:moveTo>
                      <a:cubicBezTo>
                        <a:pt x="34" y="7"/>
                        <a:pt x="61" y="3"/>
                        <a:pt x="85" y="0"/>
                      </a:cubicBezTo>
                      <a:cubicBezTo>
                        <a:pt x="98" y="16"/>
                        <a:pt x="92" y="24"/>
                        <a:pt x="80" y="26"/>
                      </a:cubicBezTo>
                      <a:cubicBezTo>
                        <a:pt x="58" y="30"/>
                        <a:pt x="36" y="31"/>
                        <a:pt x="14" y="32"/>
                      </a:cubicBezTo>
                      <a:cubicBezTo>
                        <a:pt x="11" y="32"/>
                        <a:pt x="9" y="25"/>
                        <a:pt x="0" y="1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3" name="Freeform 138">
                  <a:extLst>
                    <a:ext uri="{FF2B5EF4-FFF2-40B4-BE49-F238E27FC236}">
                      <a16:creationId xmlns:a16="http://schemas.microsoft.com/office/drawing/2014/main" id="{3CDA2BE7-DE1E-4BA8-87E2-C788093931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312150" y="139700"/>
                  <a:ext cx="34925" cy="31750"/>
                </a:xfrm>
                <a:custGeom>
                  <a:avLst/>
                  <a:gdLst>
                    <a:gd name="T0" fmla="*/ 87 w 87"/>
                    <a:gd name="T1" fmla="*/ 9 h 38"/>
                    <a:gd name="T2" fmla="*/ 75 w 87"/>
                    <a:gd name="T3" fmla="*/ 26 h 38"/>
                    <a:gd name="T4" fmla="*/ 17 w 87"/>
                    <a:gd name="T5" fmla="*/ 37 h 38"/>
                    <a:gd name="T6" fmla="*/ 0 w 87"/>
                    <a:gd name="T7" fmla="*/ 26 h 38"/>
                    <a:gd name="T8" fmla="*/ 12 w 87"/>
                    <a:gd name="T9" fmla="*/ 12 h 38"/>
                    <a:gd name="T10" fmla="*/ 80 w 87"/>
                    <a:gd name="T11" fmla="*/ 0 h 38"/>
                    <a:gd name="T12" fmla="*/ 87 w 87"/>
                    <a:gd name="T13" fmla="*/ 9 h 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7" h="38">
                      <a:moveTo>
                        <a:pt x="87" y="9"/>
                      </a:moveTo>
                      <a:cubicBezTo>
                        <a:pt x="83" y="15"/>
                        <a:pt x="80" y="25"/>
                        <a:pt x="75" y="26"/>
                      </a:cubicBezTo>
                      <a:cubicBezTo>
                        <a:pt x="56" y="31"/>
                        <a:pt x="37" y="35"/>
                        <a:pt x="17" y="37"/>
                      </a:cubicBezTo>
                      <a:cubicBezTo>
                        <a:pt x="12" y="38"/>
                        <a:pt x="6" y="30"/>
                        <a:pt x="0" y="26"/>
                      </a:cubicBezTo>
                      <a:cubicBezTo>
                        <a:pt x="4" y="21"/>
                        <a:pt x="7" y="13"/>
                        <a:pt x="12" y="12"/>
                      </a:cubicBezTo>
                      <a:cubicBezTo>
                        <a:pt x="34" y="7"/>
                        <a:pt x="57" y="4"/>
                        <a:pt x="80" y="0"/>
                      </a:cubicBezTo>
                      <a:cubicBezTo>
                        <a:pt x="82" y="3"/>
                        <a:pt x="84" y="6"/>
                        <a:pt x="87" y="9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4" name="Freeform 139">
                  <a:extLst>
                    <a:ext uri="{FF2B5EF4-FFF2-40B4-BE49-F238E27FC236}">
                      <a16:creationId xmlns:a16="http://schemas.microsoft.com/office/drawing/2014/main" id="{8889037F-8255-4461-9C53-C83FD3A9316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051800" y="220663"/>
                  <a:ext cx="36513" cy="33338"/>
                </a:xfrm>
                <a:custGeom>
                  <a:avLst/>
                  <a:gdLst>
                    <a:gd name="T0" fmla="*/ 88 w 88"/>
                    <a:gd name="T1" fmla="*/ 16 h 42"/>
                    <a:gd name="T2" fmla="*/ 77 w 88"/>
                    <a:gd name="T3" fmla="*/ 31 h 42"/>
                    <a:gd name="T4" fmla="*/ 15 w 88"/>
                    <a:gd name="T5" fmla="*/ 42 h 42"/>
                    <a:gd name="T6" fmla="*/ 1 w 88"/>
                    <a:gd name="T7" fmla="*/ 32 h 42"/>
                    <a:gd name="T8" fmla="*/ 6 w 88"/>
                    <a:gd name="T9" fmla="*/ 19 h 42"/>
                    <a:gd name="T10" fmla="*/ 88 w 88"/>
                    <a:gd name="T11" fmla="*/ 16 h 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8" h="42">
                      <a:moveTo>
                        <a:pt x="88" y="16"/>
                      </a:moveTo>
                      <a:cubicBezTo>
                        <a:pt x="83" y="22"/>
                        <a:pt x="81" y="31"/>
                        <a:pt x="77" y="31"/>
                      </a:cubicBezTo>
                      <a:cubicBezTo>
                        <a:pt x="56" y="36"/>
                        <a:pt x="36" y="40"/>
                        <a:pt x="15" y="42"/>
                      </a:cubicBezTo>
                      <a:cubicBezTo>
                        <a:pt x="11" y="42"/>
                        <a:pt x="4" y="36"/>
                        <a:pt x="1" y="32"/>
                      </a:cubicBezTo>
                      <a:cubicBezTo>
                        <a:pt x="0" y="29"/>
                        <a:pt x="4" y="19"/>
                        <a:pt x="6" y="19"/>
                      </a:cubicBezTo>
                      <a:cubicBezTo>
                        <a:pt x="32" y="14"/>
                        <a:pt x="58" y="0"/>
                        <a:pt x="88" y="1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5" name="Freeform 140">
                  <a:extLst>
                    <a:ext uri="{FF2B5EF4-FFF2-40B4-BE49-F238E27FC236}">
                      <a16:creationId xmlns:a16="http://schemas.microsoft.com/office/drawing/2014/main" id="{72DF127F-68F6-4681-94BC-566794CA0C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73925" y="479425"/>
                  <a:ext cx="33338" cy="36513"/>
                </a:xfrm>
                <a:custGeom>
                  <a:avLst/>
                  <a:gdLst>
                    <a:gd name="T0" fmla="*/ 0 w 81"/>
                    <a:gd name="T1" fmla="*/ 44 h 44"/>
                    <a:gd name="T2" fmla="*/ 81 w 81"/>
                    <a:gd name="T3" fmla="*/ 9 h 44"/>
                    <a:gd name="T4" fmla="*/ 0 w 81"/>
                    <a:gd name="T5" fmla="*/ 44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81" h="44">
                      <a:moveTo>
                        <a:pt x="0" y="44"/>
                      </a:moveTo>
                      <a:cubicBezTo>
                        <a:pt x="5" y="15"/>
                        <a:pt x="43" y="0"/>
                        <a:pt x="81" y="9"/>
                      </a:cubicBezTo>
                      <a:cubicBezTo>
                        <a:pt x="72" y="31"/>
                        <a:pt x="52" y="40"/>
                        <a:pt x="0" y="4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6" name="Freeform 141">
                  <a:extLst>
                    <a:ext uri="{FF2B5EF4-FFF2-40B4-BE49-F238E27FC236}">
                      <a16:creationId xmlns:a16="http://schemas.microsoft.com/office/drawing/2014/main" id="{CE9ECDD2-4DEB-4A65-BC20-2B6D430FE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69150" y="588963"/>
                  <a:ext cx="20638" cy="68263"/>
                </a:xfrm>
                <a:custGeom>
                  <a:avLst/>
                  <a:gdLst>
                    <a:gd name="T0" fmla="*/ 40 w 53"/>
                    <a:gd name="T1" fmla="*/ 0 h 84"/>
                    <a:gd name="T2" fmla="*/ 47 w 53"/>
                    <a:gd name="T3" fmla="*/ 4 h 84"/>
                    <a:gd name="T4" fmla="*/ 51 w 53"/>
                    <a:gd name="T5" fmla="*/ 20 h 84"/>
                    <a:gd name="T6" fmla="*/ 16 w 53"/>
                    <a:gd name="T7" fmla="*/ 76 h 84"/>
                    <a:gd name="T8" fmla="*/ 2 w 53"/>
                    <a:gd name="T9" fmla="*/ 60 h 84"/>
                    <a:gd name="T10" fmla="*/ 40 w 53"/>
                    <a:gd name="T11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3" h="84">
                      <a:moveTo>
                        <a:pt x="40" y="0"/>
                      </a:moveTo>
                      <a:cubicBezTo>
                        <a:pt x="45" y="2"/>
                        <a:pt x="47" y="3"/>
                        <a:pt x="47" y="4"/>
                      </a:cubicBezTo>
                      <a:cubicBezTo>
                        <a:pt x="49" y="9"/>
                        <a:pt x="53" y="17"/>
                        <a:pt x="51" y="20"/>
                      </a:cubicBezTo>
                      <a:cubicBezTo>
                        <a:pt x="41" y="40"/>
                        <a:pt x="31" y="61"/>
                        <a:pt x="16" y="76"/>
                      </a:cubicBezTo>
                      <a:cubicBezTo>
                        <a:pt x="8" y="84"/>
                        <a:pt x="0" y="70"/>
                        <a:pt x="2" y="60"/>
                      </a:cubicBezTo>
                      <a:cubicBezTo>
                        <a:pt x="6" y="36"/>
                        <a:pt x="18" y="15"/>
                        <a:pt x="4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7" name="Freeform 142">
                  <a:extLst>
                    <a:ext uri="{FF2B5EF4-FFF2-40B4-BE49-F238E27FC236}">
                      <a16:creationId xmlns:a16="http://schemas.microsoft.com/office/drawing/2014/main" id="{C66E6D6F-5DE3-46C9-AA47-F499DBE5E7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502650" y="38100"/>
                  <a:ext cx="34925" cy="39688"/>
                </a:xfrm>
                <a:custGeom>
                  <a:avLst/>
                  <a:gdLst>
                    <a:gd name="T0" fmla="*/ 0 w 88"/>
                    <a:gd name="T1" fmla="*/ 42 h 48"/>
                    <a:gd name="T2" fmla="*/ 85 w 88"/>
                    <a:gd name="T3" fmla="*/ 0 h 48"/>
                    <a:gd name="T4" fmla="*/ 86 w 88"/>
                    <a:gd name="T5" fmla="*/ 23 h 48"/>
                    <a:gd name="T6" fmla="*/ 0 w 88"/>
                    <a:gd name="T7" fmla="*/ 42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8" h="48">
                      <a:moveTo>
                        <a:pt x="0" y="42"/>
                      </a:moveTo>
                      <a:cubicBezTo>
                        <a:pt x="23" y="11"/>
                        <a:pt x="55" y="14"/>
                        <a:pt x="85" y="0"/>
                      </a:cubicBezTo>
                      <a:cubicBezTo>
                        <a:pt x="85" y="12"/>
                        <a:pt x="88" y="20"/>
                        <a:pt x="86" y="23"/>
                      </a:cubicBezTo>
                      <a:cubicBezTo>
                        <a:pt x="72" y="38"/>
                        <a:pt x="30" y="48"/>
                        <a:pt x="0" y="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58" name="Freeform 143">
                  <a:extLst>
                    <a:ext uri="{FF2B5EF4-FFF2-40B4-BE49-F238E27FC236}">
                      <a16:creationId xmlns:a16="http://schemas.microsoft.com/office/drawing/2014/main" id="{C772672F-AEEB-4FC2-B0E5-60FCA66511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185025" y="700088"/>
                  <a:ext cx="15875" cy="30163"/>
                </a:xfrm>
                <a:custGeom>
                  <a:avLst/>
                  <a:gdLst>
                    <a:gd name="T0" fmla="*/ 34 w 38"/>
                    <a:gd name="T1" fmla="*/ 33 h 36"/>
                    <a:gd name="T2" fmla="*/ 27 w 38"/>
                    <a:gd name="T3" fmla="*/ 36 h 36"/>
                    <a:gd name="T4" fmla="*/ 1 w 38"/>
                    <a:gd name="T5" fmla="*/ 10 h 36"/>
                    <a:gd name="T6" fmla="*/ 13 w 38"/>
                    <a:gd name="T7" fmla="*/ 1 h 36"/>
                    <a:gd name="T8" fmla="*/ 34 w 38"/>
                    <a:gd name="T9" fmla="*/ 33 h 3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" h="36">
                      <a:moveTo>
                        <a:pt x="34" y="33"/>
                      </a:moveTo>
                      <a:cubicBezTo>
                        <a:pt x="29" y="35"/>
                        <a:pt x="28" y="36"/>
                        <a:pt x="27" y="36"/>
                      </a:cubicBezTo>
                      <a:cubicBezTo>
                        <a:pt x="11" y="34"/>
                        <a:pt x="0" y="27"/>
                        <a:pt x="1" y="10"/>
                      </a:cubicBezTo>
                      <a:cubicBezTo>
                        <a:pt x="2" y="7"/>
                        <a:pt x="10" y="0"/>
                        <a:pt x="13" y="1"/>
                      </a:cubicBezTo>
                      <a:cubicBezTo>
                        <a:pt x="27" y="6"/>
                        <a:pt x="38" y="14"/>
                        <a:pt x="34" y="3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159" name="Group 158">
                <a:extLst>
                  <a:ext uri="{FF2B5EF4-FFF2-40B4-BE49-F238E27FC236}">
                    <a16:creationId xmlns:a16="http://schemas.microsoft.com/office/drawing/2014/main" id="{7B2A6F9E-F0E9-4622-ACDE-CB82326B5637}"/>
                  </a:ext>
                </a:extLst>
              </p:cNvPr>
              <p:cNvGrpSpPr/>
              <p:nvPr/>
            </p:nvGrpSpPr>
            <p:grpSpPr>
              <a:xfrm>
                <a:off x="7589099" y="2567216"/>
                <a:ext cx="1166981" cy="1804195"/>
                <a:chOff x="7478257" y="2193205"/>
                <a:chExt cx="452893" cy="700189"/>
              </a:xfrm>
            </p:grpSpPr>
            <p:sp>
              <p:nvSpPr>
                <p:cNvPr id="160" name="Oval 159">
                  <a:extLst>
                    <a:ext uri="{FF2B5EF4-FFF2-40B4-BE49-F238E27FC236}">
                      <a16:creationId xmlns:a16="http://schemas.microsoft.com/office/drawing/2014/main" id="{5A0418DE-2F1D-4FFD-B28F-98DC2FEF1A72}"/>
                    </a:ext>
                  </a:extLst>
                </p:cNvPr>
                <p:cNvSpPr/>
                <p:nvPr/>
              </p:nvSpPr>
              <p:spPr>
                <a:xfrm>
                  <a:off x="7478257" y="2786413"/>
                  <a:ext cx="452893" cy="106981"/>
                </a:xfrm>
                <a:prstGeom prst="ellipse">
                  <a:avLst/>
                </a:prstGeom>
                <a:solidFill>
                  <a:schemeClr val="tx2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  <p:sp>
              <p:nvSpPr>
                <p:cNvPr id="161" name="Freeform 17">
                  <a:extLst>
                    <a:ext uri="{FF2B5EF4-FFF2-40B4-BE49-F238E27FC236}">
                      <a16:creationId xmlns:a16="http://schemas.microsoft.com/office/drawing/2014/main" id="{E2FE26E6-6248-47C3-9AD0-8A58E5F104C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78257" y="2193205"/>
                  <a:ext cx="452893" cy="646699"/>
                </a:xfrm>
                <a:custGeom>
                  <a:avLst/>
                  <a:gdLst>
                    <a:gd name="T0" fmla="*/ 214 w 221"/>
                    <a:gd name="T1" fmla="*/ 77 h 315"/>
                    <a:gd name="T2" fmla="*/ 164 w 221"/>
                    <a:gd name="T3" fmla="*/ 14 h 315"/>
                    <a:gd name="T4" fmla="*/ 110 w 221"/>
                    <a:gd name="T5" fmla="*/ 0 h 315"/>
                    <a:gd name="T6" fmla="*/ 110 w 221"/>
                    <a:gd name="T7" fmla="*/ 0 h 315"/>
                    <a:gd name="T8" fmla="*/ 56 w 221"/>
                    <a:gd name="T9" fmla="*/ 14 h 315"/>
                    <a:gd name="T10" fmla="*/ 6 w 221"/>
                    <a:gd name="T11" fmla="*/ 77 h 315"/>
                    <a:gd name="T12" fmla="*/ 5 w 221"/>
                    <a:gd name="T13" fmla="*/ 132 h 315"/>
                    <a:gd name="T14" fmla="*/ 40 w 221"/>
                    <a:gd name="T15" fmla="*/ 208 h 315"/>
                    <a:gd name="T16" fmla="*/ 94 w 221"/>
                    <a:gd name="T17" fmla="*/ 292 h 315"/>
                    <a:gd name="T18" fmla="*/ 110 w 221"/>
                    <a:gd name="T19" fmla="*/ 315 h 315"/>
                    <a:gd name="T20" fmla="*/ 110 w 221"/>
                    <a:gd name="T21" fmla="*/ 315 h 315"/>
                    <a:gd name="T22" fmla="*/ 126 w 221"/>
                    <a:gd name="T23" fmla="*/ 292 h 315"/>
                    <a:gd name="T24" fmla="*/ 180 w 221"/>
                    <a:gd name="T25" fmla="*/ 208 h 315"/>
                    <a:gd name="T26" fmla="*/ 215 w 221"/>
                    <a:gd name="T27" fmla="*/ 132 h 315"/>
                    <a:gd name="T28" fmla="*/ 214 w 221"/>
                    <a:gd name="T29" fmla="*/ 77 h 315"/>
                    <a:gd name="T30" fmla="*/ 110 w 221"/>
                    <a:gd name="T31" fmla="*/ 174 h 315"/>
                    <a:gd name="T32" fmla="*/ 110 w 221"/>
                    <a:gd name="T33" fmla="*/ 174 h 315"/>
                    <a:gd name="T34" fmla="*/ 110 w 221"/>
                    <a:gd name="T35" fmla="*/ 174 h 315"/>
                    <a:gd name="T36" fmla="*/ 44 w 221"/>
                    <a:gd name="T37" fmla="*/ 108 h 315"/>
                    <a:gd name="T38" fmla="*/ 110 w 221"/>
                    <a:gd name="T39" fmla="*/ 42 h 315"/>
                    <a:gd name="T40" fmla="*/ 110 w 221"/>
                    <a:gd name="T41" fmla="*/ 42 h 315"/>
                    <a:gd name="T42" fmla="*/ 110 w 221"/>
                    <a:gd name="T43" fmla="*/ 42 h 315"/>
                    <a:gd name="T44" fmla="*/ 176 w 221"/>
                    <a:gd name="T45" fmla="*/ 108 h 315"/>
                    <a:gd name="T46" fmla="*/ 110 w 221"/>
                    <a:gd name="T47" fmla="*/ 174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21" h="315">
                      <a:moveTo>
                        <a:pt x="214" y="77"/>
                      </a:moveTo>
                      <a:cubicBezTo>
                        <a:pt x="206" y="50"/>
                        <a:pt x="189" y="29"/>
                        <a:pt x="164" y="14"/>
                      </a:cubicBezTo>
                      <a:cubicBezTo>
                        <a:pt x="147" y="4"/>
                        <a:pt x="129" y="0"/>
                        <a:pt x="110" y="0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91" y="0"/>
                        <a:pt x="73" y="4"/>
                        <a:pt x="56" y="14"/>
                      </a:cubicBezTo>
                      <a:cubicBezTo>
                        <a:pt x="31" y="29"/>
                        <a:pt x="15" y="50"/>
                        <a:pt x="6" y="77"/>
                      </a:cubicBezTo>
                      <a:cubicBezTo>
                        <a:pt x="1" y="95"/>
                        <a:pt x="0" y="114"/>
                        <a:pt x="5" y="132"/>
                      </a:cubicBezTo>
                      <a:cubicBezTo>
                        <a:pt x="13" y="159"/>
                        <a:pt x="26" y="184"/>
                        <a:pt x="40" y="208"/>
                      </a:cubicBezTo>
                      <a:cubicBezTo>
                        <a:pt x="58" y="237"/>
                        <a:pt x="76" y="264"/>
                        <a:pt x="94" y="292"/>
                      </a:cubicBezTo>
                      <a:cubicBezTo>
                        <a:pt x="99" y="300"/>
                        <a:pt x="104" y="307"/>
                        <a:pt x="110" y="315"/>
                      </a:cubicBezTo>
                      <a:cubicBezTo>
                        <a:pt x="110" y="315"/>
                        <a:pt x="110" y="315"/>
                        <a:pt x="110" y="315"/>
                      </a:cubicBezTo>
                      <a:cubicBezTo>
                        <a:pt x="116" y="307"/>
                        <a:pt x="121" y="300"/>
                        <a:pt x="126" y="292"/>
                      </a:cubicBezTo>
                      <a:cubicBezTo>
                        <a:pt x="144" y="264"/>
                        <a:pt x="163" y="237"/>
                        <a:pt x="180" y="208"/>
                      </a:cubicBezTo>
                      <a:cubicBezTo>
                        <a:pt x="194" y="184"/>
                        <a:pt x="207" y="159"/>
                        <a:pt x="215" y="132"/>
                      </a:cubicBezTo>
                      <a:cubicBezTo>
                        <a:pt x="221" y="114"/>
                        <a:pt x="220" y="95"/>
                        <a:pt x="214" y="77"/>
                      </a:cubicBezTo>
                      <a:close/>
                      <a:moveTo>
                        <a:pt x="110" y="174"/>
                      </a:move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74" y="174"/>
                        <a:pt x="44" y="145"/>
                        <a:pt x="44" y="108"/>
                      </a:cubicBezTo>
                      <a:cubicBezTo>
                        <a:pt x="44" y="72"/>
                        <a:pt x="74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47" y="42"/>
                        <a:pt x="176" y="72"/>
                        <a:pt x="176" y="108"/>
                      </a:cubicBezTo>
                      <a:cubicBezTo>
                        <a:pt x="176" y="145"/>
                        <a:pt x="147" y="174"/>
                        <a:pt x="110" y="174"/>
                      </a:cubicBezTo>
                      <a:close/>
                    </a:path>
                  </a:pathLst>
                </a:custGeom>
                <a:solidFill>
                  <a:schemeClr val="accent4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</p:grpSp>
          <p:grpSp>
            <p:nvGrpSpPr>
              <p:cNvPr id="162" name="Group 161">
                <a:extLst>
                  <a:ext uri="{FF2B5EF4-FFF2-40B4-BE49-F238E27FC236}">
                    <a16:creationId xmlns:a16="http://schemas.microsoft.com/office/drawing/2014/main" id="{B854ABA0-5487-4821-B2F2-349225F2294D}"/>
                  </a:ext>
                </a:extLst>
              </p:cNvPr>
              <p:cNvGrpSpPr/>
              <p:nvPr/>
            </p:nvGrpSpPr>
            <p:grpSpPr>
              <a:xfrm>
                <a:off x="4955559" y="1181327"/>
                <a:ext cx="1033652" cy="1598064"/>
                <a:chOff x="7478257" y="2193205"/>
                <a:chExt cx="452893" cy="700189"/>
              </a:xfrm>
            </p:grpSpPr>
            <p:sp>
              <p:nvSpPr>
                <p:cNvPr id="163" name="Oval 162">
                  <a:extLst>
                    <a:ext uri="{FF2B5EF4-FFF2-40B4-BE49-F238E27FC236}">
                      <a16:creationId xmlns:a16="http://schemas.microsoft.com/office/drawing/2014/main" id="{4C5AABC9-36F0-408A-898D-9413B94E35B6}"/>
                    </a:ext>
                  </a:extLst>
                </p:cNvPr>
                <p:cNvSpPr/>
                <p:nvPr/>
              </p:nvSpPr>
              <p:spPr>
                <a:xfrm>
                  <a:off x="7478257" y="2786413"/>
                  <a:ext cx="452893" cy="106981"/>
                </a:xfrm>
                <a:prstGeom prst="ellipse">
                  <a:avLst/>
                </a:prstGeom>
                <a:solidFill>
                  <a:schemeClr val="tx2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  <p:sp>
              <p:nvSpPr>
                <p:cNvPr id="164" name="Freeform 17">
                  <a:extLst>
                    <a:ext uri="{FF2B5EF4-FFF2-40B4-BE49-F238E27FC236}">
                      <a16:creationId xmlns:a16="http://schemas.microsoft.com/office/drawing/2014/main" id="{7003277C-2D44-4FB9-8071-68E3F805B6AB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78257" y="2193205"/>
                  <a:ext cx="452893" cy="646699"/>
                </a:xfrm>
                <a:custGeom>
                  <a:avLst/>
                  <a:gdLst>
                    <a:gd name="T0" fmla="*/ 214 w 221"/>
                    <a:gd name="T1" fmla="*/ 77 h 315"/>
                    <a:gd name="T2" fmla="*/ 164 w 221"/>
                    <a:gd name="T3" fmla="*/ 14 h 315"/>
                    <a:gd name="T4" fmla="*/ 110 w 221"/>
                    <a:gd name="T5" fmla="*/ 0 h 315"/>
                    <a:gd name="T6" fmla="*/ 110 w 221"/>
                    <a:gd name="T7" fmla="*/ 0 h 315"/>
                    <a:gd name="T8" fmla="*/ 56 w 221"/>
                    <a:gd name="T9" fmla="*/ 14 h 315"/>
                    <a:gd name="T10" fmla="*/ 6 w 221"/>
                    <a:gd name="T11" fmla="*/ 77 h 315"/>
                    <a:gd name="T12" fmla="*/ 5 w 221"/>
                    <a:gd name="T13" fmla="*/ 132 h 315"/>
                    <a:gd name="T14" fmla="*/ 40 w 221"/>
                    <a:gd name="T15" fmla="*/ 208 h 315"/>
                    <a:gd name="T16" fmla="*/ 94 w 221"/>
                    <a:gd name="T17" fmla="*/ 292 h 315"/>
                    <a:gd name="T18" fmla="*/ 110 w 221"/>
                    <a:gd name="T19" fmla="*/ 315 h 315"/>
                    <a:gd name="T20" fmla="*/ 110 w 221"/>
                    <a:gd name="T21" fmla="*/ 315 h 315"/>
                    <a:gd name="T22" fmla="*/ 126 w 221"/>
                    <a:gd name="T23" fmla="*/ 292 h 315"/>
                    <a:gd name="T24" fmla="*/ 180 w 221"/>
                    <a:gd name="T25" fmla="*/ 208 h 315"/>
                    <a:gd name="T26" fmla="*/ 215 w 221"/>
                    <a:gd name="T27" fmla="*/ 132 h 315"/>
                    <a:gd name="T28" fmla="*/ 214 w 221"/>
                    <a:gd name="T29" fmla="*/ 77 h 315"/>
                    <a:gd name="T30" fmla="*/ 110 w 221"/>
                    <a:gd name="T31" fmla="*/ 174 h 315"/>
                    <a:gd name="T32" fmla="*/ 110 w 221"/>
                    <a:gd name="T33" fmla="*/ 174 h 315"/>
                    <a:gd name="T34" fmla="*/ 110 w 221"/>
                    <a:gd name="T35" fmla="*/ 174 h 315"/>
                    <a:gd name="T36" fmla="*/ 44 w 221"/>
                    <a:gd name="T37" fmla="*/ 108 h 315"/>
                    <a:gd name="T38" fmla="*/ 110 w 221"/>
                    <a:gd name="T39" fmla="*/ 42 h 315"/>
                    <a:gd name="T40" fmla="*/ 110 w 221"/>
                    <a:gd name="T41" fmla="*/ 42 h 315"/>
                    <a:gd name="T42" fmla="*/ 110 w 221"/>
                    <a:gd name="T43" fmla="*/ 42 h 315"/>
                    <a:gd name="T44" fmla="*/ 176 w 221"/>
                    <a:gd name="T45" fmla="*/ 108 h 315"/>
                    <a:gd name="T46" fmla="*/ 110 w 221"/>
                    <a:gd name="T47" fmla="*/ 174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21" h="315">
                      <a:moveTo>
                        <a:pt x="214" y="77"/>
                      </a:moveTo>
                      <a:cubicBezTo>
                        <a:pt x="206" y="50"/>
                        <a:pt x="189" y="29"/>
                        <a:pt x="164" y="14"/>
                      </a:cubicBezTo>
                      <a:cubicBezTo>
                        <a:pt x="147" y="4"/>
                        <a:pt x="129" y="0"/>
                        <a:pt x="110" y="0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91" y="0"/>
                        <a:pt x="73" y="4"/>
                        <a:pt x="56" y="14"/>
                      </a:cubicBezTo>
                      <a:cubicBezTo>
                        <a:pt x="31" y="29"/>
                        <a:pt x="15" y="50"/>
                        <a:pt x="6" y="77"/>
                      </a:cubicBezTo>
                      <a:cubicBezTo>
                        <a:pt x="1" y="95"/>
                        <a:pt x="0" y="114"/>
                        <a:pt x="5" y="132"/>
                      </a:cubicBezTo>
                      <a:cubicBezTo>
                        <a:pt x="13" y="159"/>
                        <a:pt x="26" y="184"/>
                        <a:pt x="40" y="208"/>
                      </a:cubicBezTo>
                      <a:cubicBezTo>
                        <a:pt x="58" y="237"/>
                        <a:pt x="76" y="264"/>
                        <a:pt x="94" y="292"/>
                      </a:cubicBezTo>
                      <a:cubicBezTo>
                        <a:pt x="99" y="300"/>
                        <a:pt x="104" y="307"/>
                        <a:pt x="110" y="315"/>
                      </a:cubicBezTo>
                      <a:cubicBezTo>
                        <a:pt x="110" y="315"/>
                        <a:pt x="110" y="315"/>
                        <a:pt x="110" y="315"/>
                      </a:cubicBezTo>
                      <a:cubicBezTo>
                        <a:pt x="116" y="307"/>
                        <a:pt x="121" y="300"/>
                        <a:pt x="126" y="292"/>
                      </a:cubicBezTo>
                      <a:cubicBezTo>
                        <a:pt x="144" y="264"/>
                        <a:pt x="163" y="237"/>
                        <a:pt x="180" y="208"/>
                      </a:cubicBezTo>
                      <a:cubicBezTo>
                        <a:pt x="194" y="184"/>
                        <a:pt x="207" y="159"/>
                        <a:pt x="215" y="132"/>
                      </a:cubicBezTo>
                      <a:cubicBezTo>
                        <a:pt x="221" y="114"/>
                        <a:pt x="220" y="95"/>
                        <a:pt x="214" y="77"/>
                      </a:cubicBezTo>
                      <a:close/>
                      <a:moveTo>
                        <a:pt x="110" y="174"/>
                      </a:move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74" y="174"/>
                        <a:pt x="44" y="145"/>
                        <a:pt x="44" y="108"/>
                      </a:cubicBezTo>
                      <a:cubicBezTo>
                        <a:pt x="44" y="72"/>
                        <a:pt x="74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47" y="42"/>
                        <a:pt x="176" y="72"/>
                        <a:pt x="176" y="108"/>
                      </a:cubicBezTo>
                      <a:cubicBezTo>
                        <a:pt x="176" y="145"/>
                        <a:pt x="147" y="174"/>
                        <a:pt x="110" y="174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</p:grpSp>
          <p:grpSp>
            <p:nvGrpSpPr>
              <p:cNvPr id="165" name="Group 164">
                <a:extLst>
                  <a:ext uri="{FF2B5EF4-FFF2-40B4-BE49-F238E27FC236}">
                    <a16:creationId xmlns:a16="http://schemas.microsoft.com/office/drawing/2014/main" id="{40B7FA44-8389-46FF-A2DC-574DD85B98DA}"/>
                  </a:ext>
                </a:extLst>
              </p:cNvPr>
              <p:cNvGrpSpPr/>
              <p:nvPr/>
            </p:nvGrpSpPr>
            <p:grpSpPr>
              <a:xfrm>
                <a:off x="8771093" y="303470"/>
                <a:ext cx="880051" cy="1360591"/>
                <a:chOff x="7478257" y="2193205"/>
                <a:chExt cx="452893" cy="700189"/>
              </a:xfrm>
            </p:grpSpPr>
            <p:sp>
              <p:nvSpPr>
                <p:cNvPr id="166" name="Oval 165">
                  <a:extLst>
                    <a:ext uri="{FF2B5EF4-FFF2-40B4-BE49-F238E27FC236}">
                      <a16:creationId xmlns:a16="http://schemas.microsoft.com/office/drawing/2014/main" id="{45A559E3-C492-4D22-9072-FDAE059F2E68}"/>
                    </a:ext>
                  </a:extLst>
                </p:cNvPr>
                <p:cNvSpPr/>
                <p:nvPr/>
              </p:nvSpPr>
              <p:spPr>
                <a:xfrm>
                  <a:off x="7478257" y="2786413"/>
                  <a:ext cx="452893" cy="106981"/>
                </a:xfrm>
                <a:prstGeom prst="ellipse">
                  <a:avLst/>
                </a:prstGeom>
                <a:solidFill>
                  <a:schemeClr val="tx2">
                    <a:alpha val="3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  <p:sp>
              <p:nvSpPr>
                <p:cNvPr id="167" name="Freeform 17">
                  <a:extLst>
                    <a:ext uri="{FF2B5EF4-FFF2-40B4-BE49-F238E27FC236}">
                      <a16:creationId xmlns:a16="http://schemas.microsoft.com/office/drawing/2014/main" id="{8FBB1C22-916D-4D88-9014-DFEC36C03C6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7478257" y="2193205"/>
                  <a:ext cx="452893" cy="646699"/>
                </a:xfrm>
                <a:custGeom>
                  <a:avLst/>
                  <a:gdLst>
                    <a:gd name="T0" fmla="*/ 214 w 221"/>
                    <a:gd name="T1" fmla="*/ 77 h 315"/>
                    <a:gd name="T2" fmla="*/ 164 w 221"/>
                    <a:gd name="T3" fmla="*/ 14 h 315"/>
                    <a:gd name="T4" fmla="*/ 110 w 221"/>
                    <a:gd name="T5" fmla="*/ 0 h 315"/>
                    <a:gd name="T6" fmla="*/ 110 w 221"/>
                    <a:gd name="T7" fmla="*/ 0 h 315"/>
                    <a:gd name="T8" fmla="*/ 56 w 221"/>
                    <a:gd name="T9" fmla="*/ 14 h 315"/>
                    <a:gd name="T10" fmla="*/ 6 w 221"/>
                    <a:gd name="T11" fmla="*/ 77 h 315"/>
                    <a:gd name="T12" fmla="*/ 5 w 221"/>
                    <a:gd name="T13" fmla="*/ 132 h 315"/>
                    <a:gd name="T14" fmla="*/ 40 w 221"/>
                    <a:gd name="T15" fmla="*/ 208 h 315"/>
                    <a:gd name="T16" fmla="*/ 94 w 221"/>
                    <a:gd name="T17" fmla="*/ 292 h 315"/>
                    <a:gd name="T18" fmla="*/ 110 w 221"/>
                    <a:gd name="T19" fmla="*/ 315 h 315"/>
                    <a:gd name="T20" fmla="*/ 110 w 221"/>
                    <a:gd name="T21" fmla="*/ 315 h 315"/>
                    <a:gd name="T22" fmla="*/ 126 w 221"/>
                    <a:gd name="T23" fmla="*/ 292 h 315"/>
                    <a:gd name="T24" fmla="*/ 180 w 221"/>
                    <a:gd name="T25" fmla="*/ 208 h 315"/>
                    <a:gd name="T26" fmla="*/ 215 w 221"/>
                    <a:gd name="T27" fmla="*/ 132 h 315"/>
                    <a:gd name="T28" fmla="*/ 214 w 221"/>
                    <a:gd name="T29" fmla="*/ 77 h 315"/>
                    <a:gd name="T30" fmla="*/ 110 w 221"/>
                    <a:gd name="T31" fmla="*/ 174 h 315"/>
                    <a:gd name="T32" fmla="*/ 110 w 221"/>
                    <a:gd name="T33" fmla="*/ 174 h 315"/>
                    <a:gd name="T34" fmla="*/ 110 w 221"/>
                    <a:gd name="T35" fmla="*/ 174 h 315"/>
                    <a:gd name="T36" fmla="*/ 44 w 221"/>
                    <a:gd name="T37" fmla="*/ 108 h 315"/>
                    <a:gd name="T38" fmla="*/ 110 w 221"/>
                    <a:gd name="T39" fmla="*/ 42 h 315"/>
                    <a:gd name="T40" fmla="*/ 110 w 221"/>
                    <a:gd name="T41" fmla="*/ 42 h 315"/>
                    <a:gd name="T42" fmla="*/ 110 w 221"/>
                    <a:gd name="T43" fmla="*/ 42 h 315"/>
                    <a:gd name="T44" fmla="*/ 176 w 221"/>
                    <a:gd name="T45" fmla="*/ 108 h 315"/>
                    <a:gd name="T46" fmla="*/ 110 w 221"/>
                    <a:gd name="T47" fmla="*/ 174 h 3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221" h="315">
                      <a:moveTo>
                        <a:pt x="214" y="77"/>
                      </a:moveTo>
                      <a:cubicBezTo>
                        <a:pt x="206" y="50"/>
                        <a:pt x="189" y="29"/>
                        <a:pt x="164" y="14"/>
                      </a:cubicBezTo>
                      <a:cubicBezTo>
                        <a:pt x="147" y="4"/>
                        <a:pt x="129" y="0"/>
                        <a:pt x="110" y="0"/>
                      </a:cubicBezTo>
                      <a:cubicBezTo>
                        <a:pt x="110" y="0"/>
                        <a:pt x="110" y="0"/>
                        <a:pt x="110" y="0"/>
                      </a:cubicBezTo>
                      <a:cubicBezTo>
                        <a:pt x="91" y="0"/>
                        <a:pt x="73" y="4"/>
                        <a:pt x="56" y="14"/>
                      </a:cubicBezTo>
                      <a:cubicBezTo>
                        <a:pt x="31" y="29"/>
                        <a:pt x="15" y="50"/>
                        <a:pt x="6" y="77"/>
                      </a:cubicBezTo>
                      <a:cubicBezTo>
                        <a:pt x="1" y="95"/>
                        <a:pt x="0" y="114"/>
                        <a:pt x="5" y="132"/>
                      </a:cubicBezTo>
                      <a:cubicBezTo>
                        <a:pt x="13" y="159"/>
                        <a:pt x="26" y="184"/>
                        <a:pt x="40" y="208"/>
                      </a:cubicBezTo>
                      <a:cubicBezTo>
                        <a:pt x="58" y="237"/>
                        <a:pt x="76" y="264"/>
                        <a:pt x="94" y="292"/>
                      </a:cubicBezTo>
                      <a:cubicBezTo>
                        <a:pt x="99" y="300"/>
                        <a:pt x="104" y="307"/>
                        <a:pt x="110" y="315"/>
                      </a:cubicBezTo>
                      <a:cubicBezTo>
                        <a:pt x="110" y="315"/>
                        <a:pt x="110" y="315"/>
                        <a:pt x="110" y="315"/>
                      </a:cubicBezTo>
                      <a:cubicBezTo>
                        <a:pt x="116" y="307"/>
                        <a:pt x="121" y="300"/>
                        <a:pt x="126" y="292"/>
                      </a:cubicBezTo>
                      <a:cubicBezTo>
                        <a:pt x="144" y="264"/>
                        <a:pt x="163" y="237"/>
                        <a:pt x="180" y="208"/>
                      </a:cubicBezTo>
                      <a:cubicBezTo>
                        <a:pt x="194" y="184"/>
                        <a:pt x="207" y="159"/>
                        <a:pt x="215" y="132"/>
                      </a:cubicBezTo>
                      <a:cubicBezTo>
                        <a:pt x="221" y="114"/>
                        <a:pt x="220" y="95"/>
                        <a:pt x="214" y="77"/>
                      </a:cubicBezTo>
                      <a:close/>
                      <a:moveTo>
                        <a:pt x="110" y="174"/>
                      </a:move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110" y="174"/>
                        <a:pt x="110" y="174"/>
                        <a:pt x="110" y="174"/>
                      </a:cubicBezTo>
                      <a:cubicBezTo>
                        <a:pt x="74" y="174"/>
                        <a:pt x="44" y="145"/>
                        <a:pt x="44" y="108"/>
                      </a:cubicBezTo>
                      <a:cubicBezTo>
                        <a:pt x="44" y="72"/>
                        <a:pt x="74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10" y="42"/>
                        <a:pt x="110" y="42"/>
                        <a:pt x="110" y="42"/>
                      </a:cubicBezTo>
                      <a:cubicBezTo>
                        <a:pt x="147" y="42"/>
                        <a:pt x="176" y="72"/>
                        <a:pt x="176" y="108"/>
                      </a:cubicBezTo>
                      <a:cubicBezTo>
                        <a:pt x="176" y="145"/>
                        <a:pt x="147" y="174"/>
                        <a:pt x="110" y="174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Times" panose="02020603050405020304" pitchFamily="18" charset="0"/>
                    <a:cs typeface="Times" panose="02020603050405020304" pitchFamily="18" charset="0"/>
                  </a:endParaRPr>
                </a:p>
              </p:txBody>
            </p:sp>
          </p:grpSp>
          <p:sp>
            <p:nvSpPr>
              <p:cNvPr id="168" name="TextBox 167">
                <a:extLst>
                  <a:ext uri="{FF2B5EF4-FFF2-40B4-BE49-F238E27FC236}">
                    <a16:creationId xmlns:a16="http://schemas.microsoft.com/office/drawing/2014/main" id="{B67F2147-4484-40D5-B546-A8F47DFE51AF}"/>
                  </a:ext>
                </a:extLst>
              </p:cNvPr>
              <p:cNvSpPr txBox="1"/>
              <p:nvPr/>
            </p:nvSpPr>
            <p:spPr>
              <a:xfrm>
                <a:off x="2145347" y="4129219"/>
                <a:ext cx="1033652" cy="861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:r>
                  <a:rPr lang="en-US" sz="5000" dirty="0">
                    <a:latin typeface="Times" panose="02020603050405020304" pitchFamily="18" charset="0"/>
                    <a:ea typeface="Noto Sans" panose="020B0502040504020204" pitchFamily="34"/>
                    <a:cs typeface="Times" panose="02020603050405020304" pitchFamily="18" charset="0"/>
                  </a:rPr>
                  <a:t>01</a:t>
                </a:r>
                <a:endParaRPr lang="en-GB" sz="5000" dirty="0">
                  <a:latin typeface="Times" panose="02020603050405020304" pitchFamily="18" charset="0"/>
                  <a:ea typeface="Noto Sans" panose="020B0502040504020204" pitchFamily="34"/>
                  <a:cs typeface="Times" panose="02020603050405020304" pitchFamily="18" charset="0"/>
                </a:endParaRPr>
              </a:p>
            </p:txBody>
          </p:sp>
          <p:sp>
            <p:nvSpPr>
              <p:cNvPr id="169" name="TextBox 168">
                <a:extLst>
                  <a:ext uri="{FF2B5EF4-FFF2-40B4-BE49-F238E27FC236}">
                    <a16:creationId xmlns:a16="http://schemas.microsoft.com/office/drawing/2014/main" id="{34D2F6EE-113C-450F-8387-5A25F3043BEA}"/>
                  </a:ext>
                </a:extLst>
              </p:cNvPr>
              <p:cNvSpPr txBox="1"/>
              <p:nvPr/>
            </p:nvSpPr>
            <p:spPr>
              <a:xfrm>
                <a:off x="7655763" y="2784847"/>
                <a:ext cx="1033652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:r>
                  <a:rPr lang="en-US" sz="4000" dirty="0">
                    <a:latin typeface="Times" panose="02020603050405020304" pitchFamily="18" charset="0"/>
                    <a:ea typeface="Noto Sans" panose="020B0502040504020204" pitchFamily="34"/>
                    <a:cs typeface="Times" panose="02020603050405020304" pitchFamily="18" charset="0"/>
                  </a:rPr>
                  <a:t>02</a:t>
                </a:r>
                <a:endParaRPr lang="en-GB" sz="4000" dirty="0">
                  <a:latin typeface="Times" panose="02020603050405020304" pitchFamily="18" charset="0"/>
                  <a:ea typeface="Noto Sans" panose="020B0502040504020204" pitchFamily="34"/>
                  <a:cs typeface="Times" panose="02020603050405020304" pitchFamily="18" charset="0"/>
                </a:endParaRPr>
              </a:p>
            </p:txBody>
          </p:sp>
          <p:sp>
            <p:nvSpPr>
              <p:cNvPr id="170" name="TextBox 169">
                <a:extLst>
                  <a:ext uri="{FF2B5EF4-FFF2-40B4-BE49-F238E27FC236}">
                    <a16:creationId xmlns:a16="http://schemas.microsoft.com/office/drawing/2014/main" id="{2A81A2BA-1F7F-4BD4-80CB-D4E689347B7E}"/>
                  </a:ext>
                </a:extLst>
              </p:cNvPr>
              <p:cNvSpPr txBox="1"/>
              <p:nvPr/>
            </p:nvSpPr>
            <p:spPr>
              <a:xfrm>
                <a:off x="4941745" y="1351079"/>
                <a:ext cx="1033652" cy="63094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:r>
                  <a:rPr lang="en-US" sz="3500" dirty="0">
                    <a:latin typeface="Times" panose="02020603050405020304" pitchFamily="18" charset="0"/>
                    <a:ea typeface="Noto Sans" panose="020B0502040504020204" pitchFamily="34"/>
                    <a:cs typeface="Times" panose="02020603050405020304" pitchFamily="18" charset="0"/>
                  </a:rPr>
                  <a:t>03</a:t>
                </a:r>
                <a:endParaRPr lang="en-GB" sz="3500" dirty="0">
                  <a:latin typeface="Times" panose="02020603050405020304" pitchFamily="18" charset="0"/>
                  <a:ea typeface="Noto Sans" panose="020B0502040504020204" pitchFamily="34"/>
                  <a:cs typeface="Times" panose="02020603050405020304" pitchFamily="18" charset="0"/>
                </a:endParaRPr>
              </a:p>
            </p:txBody>
          </p:sp>
          <p:sp>
            <p:nvSpPr>
              <p:cNvPr id="171" name="TextBox 170">
                <a:extLst>
                  <a:ext uri="{FF2B5EF4-FFF2-40B4-BE49-F238E27FC236}">
                    <a16:creationId xmlns:a16="http://schemas.microsoft.com/office/drawing/2014/main" id="{5887FBB0-9FCD-4095-A184-DBD7FB1DD22E}"/>
                  </a:ext>
                </a:extLst>
              </p:cNvPr>
              <p:cNvSpPr txBox="1"/>
              <p:nvPr/>
            </p:nvSpPr>
            <p:spPr>
              <a:xfrm>
                <a:off x="8711958" y="448925"/>
                <a:ext cx="1033652" cy="553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lvl="0" algn="ctr">
                  <a:defRPr/>
                </a:pPr>
                <a:r>
                  <a:rPr lang="en-US" sz="3000" dirty="0">
                    <a:latin typeface="Times" panose="02020603050405020304" pitchFamily="18" charset="0"/>
                    <a:ea typeface="Noto Sans" panose="020B0502040504020204" pitchFamily="34"/>
                    <a:cs typeface="Times" panose="02020603050405020304" pitchFamily="18" charset="0"/>
                  </a:rPr>
                  <a:t>04</a:t>
                </a:r>
                <a:endParaRPr lang="en-GB" sz="3000" dirty="0">
                  <a:latin typeface="Times" panose="02020603050405020304" pitchFamily="18" charset="0"/>
                  <a:ea typeface="Noto Sans" panose="020B0502040504020204" pitchFamily="34"/>
                  <a:cs typeface="Times" panose="02020603050405020304" pitchFamily="18" charset="0"/>
                </a:endParaRPr>
              </a:p>
            </p:txBody>
          </p: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BF02C3D4-8338-4FF8-A1C8-C6390D4E80A8}"/>
                  </a:ext>
                </a:extLst>
              </p:cNvPr>
              <p:cNvSpPr txBox="1"/>
              <p:nvPr/>
            </p:nvSpPr>
            <p:spPr>
              <a:xfrm>
                <a:off x="136710" y="3521702"/>
                <a:ext cx="2008637" cy="6594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fr-FR" sz="1600" b="1" cap="small" dirty="0">
                    <a:solidFill>
                      <a:schemeClr val="accent1">
                        <a:lumMod val="75000"/>
                      </a:schemeClr>
                    </a:solidFill>
                    <a:cs typeface="Times New Roman" panose="02020603050405020304" pitchFamily="18" charset="0"/>
                  </a:rPr>
                  <a:t>PRESENTATION </a:t>
                </a:r>
                <a:endParaRPr lang="fr-FR" sz="1600" b="1" cap="small" dirty="0" smtClean="0">
                  <a:solidFill>
                    <a:schemeClr val="accent1">
                      <a:lumMod val="75000"/>
                    </a:schemeClr>
                  </a:solidFill>
                  <a:cs typeface="Times New Roman" panose="02020603050405020304" pitchFamily="18" charset="0"/>
                </a:endParaRPr>
              </a:p>
              <a:p>
                <a:pPr algn="ctr">
                  <a:defRPr/>
                </a:pPr>
                <a:r>
                  <a:rPr lang="fr-FR" sz="1600" b="1" cap="small" dirty="0" smtClean="0">
                    <a:solidFill>
                      <a:schemeClr val="accent1">
                        <a:lumMod val="75000"/>
                      </a:schemeClr>
                    </a:solidFill>
                    <a:cs typeface="Times New Roman" panose="02020603050405020304" pitchFamily="18" charset="0"/>
                  </a:rPr>
                  <a:t>DE </a:t>
                </a:r>
                <a:r>
                  <a:rPr lang="fr-FR" sz="1600" b="1" cap="small" dirty="0">
                    <a:solidFill>
                      <a:schemeClr val="accent1">
                        <a:lumMod val="75000"/>
                      </a:schemeClr>
                    </a:solidFill>
                    <a:cs typeface="Times New Roman" panose="02020603050405020304" pitchFamily="18" charset="0"/>
                  </a:rPr>
                  <a:t>LA NARSA</a:t>
                </a:r>
              </a:p>
            </p:txBody>
          </p:sp>
          <p:sp>
            <p:nvSpPr>
              <p:cNvPr id="176" name="Rectangle 175">
                <a:extLst>
                  <a:ext uri="{FF2B5EF4-FFF2-40B4-BE49-F238E27FC236}">
                    <a16:creationId xmlns:a16="http://schemas.microsoft.com/office/drawing/2014/main" id="{0F1C02BF-ADCA-4784-82C1-18A60CAAAFAC}"/>
                  </a:ext>
                </a:extLst>
              </p:cNvPr>
              <p:cNvSpPr/>
              <p:nvPr/>
            </p:nvSpPr>
            <p:spPr>
              <a:xfrm>
                <a:off x="340955" y="4209367"/>
                <a:ext cx="1754928" cy="85584"/>
              </a:xfrm>
              <a:prstGeom prst="rect">
                <a:avLst/>
              </a:prstGeom>
              <a:solidFill>
                <a:srgbClr val="FED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accent1">
                      <a:lumMod val="75000"/>
                    </a:schemeClr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90" name="TextBox 171">
                <a:extLst>
                  <a:ext uri="{FF2B5EF4-FFF2-40B4-BE49-F238E27FC236}">
                    <a16:creationId xmlns:a16="http://schemas.microsoft.com/office/drawing/2014/main" id="{F8BCBCB4-F85C-4748-8CA6-8C5DD5F21660}"/>
                  </a:ext>
                </a:extLst>
              </p:cNvPr>
              <p:cNvSpPr txBox="1"/>
              <p:nvPr/>
            </p:nvSpPr>
            <p:spPr>
              <a:xfrm>
                <a:off x="2455841" y="1659212"/>
                <a:ext cx="2436942" cy="6594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fr-FR" sz="1600" b="1" cap="small" dirty="0">
                    <a:solidFill>
                      <a:schemeClr val="accent1">
                        <a:lumMod val="75000"/>
                      </a:schemeClr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BOUQUET </a:t>
                </a:r>
              </a:p>
              <a:p>
                <a:pPr algn="ctr">
                  <a:defRPr/>
                </a:pPr>
                <a:r>
                  <a:rPr lang="fr-FR" sz="1600" b="1" cap="small" dirty="0">
                    <a:solidFill>
                      <a:schemeClr val="accent1">
                        <a:lumMod val="75000"/>
                      </a:schemeClr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DES E-SERVICES</a:t>
                </a: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A92E1109-4EC4-4C57-9FAF-849B329C6E81}"/>
                  </a:ext>
                </a:extLst>
              </p:cNvPr>
              <p:cNvSpPr/>
              <p:nvPr/>
            </p:nvSpPr>
            <p:spPr>
              <a:xfrm>
                <a:off x="2681580" y="2335112"/>
                <a:ext cx="1754928" cy="85584"/>
              </a:xfrm>
              <a:prstGeom prst="rect">
                <a:avLst/>
              </a:prstGeom>
              <a:solidFill>
                <a:srgbClr val="FED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92" name="TextBox 171">
                <a:extLst>
                  <a:ext uri="{FF2B5EF4-FFF2-40B4-BE49-F238E27FC236}">
                    <a16:creationId xmlns:a16="http://schemas.microsoft.com/office/drawing/2014/main" id="{E2FB472B-D42C-49CF-9EB9-4031E4C0E82A}"/>
                  </a:ext>
                </a:extLst>
              </p:cNvPr>
              <p:cNvSpPr txBox="1"/>
              <p:nvPr/>
            </p:nvSpPr>
            <p:spPr>
              <a:xfrm>
                <a:off x="8794207" y="3512257"/>
                <a:ext cx="3179909" cy="93705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defRPr/>
                </a:pPr>
                <a:r>
                  <a:rPr lang="fr-FR" sz="1600" b="1" cap="small" dirty="0">
                    <a:solidFill>
                      <a:schemeClr val="accent1">
                        <a:lumMod val="75000"/>
                      </a:schemeClr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TRANSFORMATION DIGITALE </a:t>
                </a:r>
                <a:endParaRPr lang="fr-FR" sz="1600" b="1" cap="small" dirty="0" smtClean="0">
                  <a:solidFill>
                    <a:schemeClr val="accent1">
                      <a:lumMod val="75000"/>
                    </a:schemeClr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  <a:p>
                <a:pPr algn="ctr">
                  <a:defRPr/>
                </a:pPr>
                <a:r>
                  <a:rPr lang="fr-FR" sz="1600" b="1" cap="small" dirty="0" smtClean="0">
                    <a:solidFill>
                      <a:schemeClr val="accent1">
                        <a:lumMod val="75000"/>
                      </a:schemeClr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-VISION DE LA NARSA</a:t>
                </a:r>
                <a:endParaRPr lang="fr-FR" sz="1600" b="1" cap="small" dirty="0">
                  <a:solidFill>
                    <a:schemeClr val="accent1">
                      <a:lumMod val="75000"/>
                    </a:schemeClr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93" name="Rectangle 92">
                <a:extLst>
                  <a:ext uri="{FF2B5EF4-FFF2-40B4-BE49-F238E27FC236}">
                    <a16:creationId xmlns:a16="http://schemas.microsoft.com/office/drawing/2014/main" id="{EA4A2824-0151-4098-9C26-E87D496FF908}"/>
                  </a:ext>
                </a:extLst>
              </p:cNvPr>
              <p:cNvSpPr/>
              <p:nvPr/>
            </p:nvSpPr>
            <p:spPr>
              <a:xfrm>
                <a:off x="9527817" y="4496464"/>
                <a:ext cx="1754928" cy="85584"/>
              </a:xfrm>
              <a:prstGeom prst="rect">
                <a:avLst/>
              </a:prstGeom>
              <a:solidFill>
                <a:srgbClr val="FED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94" name="TextBox 171">
                <a:extLst>
                  <a:ext uri="{FF2B5EF4-FFF2-40B4-BE49-F238E27FC236}">
                    <a16:creationId xmlns:a16="http://schemas.microsoft.com/office/drawing/2014/main" id="{9ECAAD76-6A6E-429F-8C96-7E54DAE75342}"/>
                  </a:ext>
                </a:extLst>
              </p:cNvPr>
              <p:cNvSpPr txBox="1"/>
              <p:nvPr/>
            </p:nvSpPr>
            <p:spPr>
              <a:xfrm>
                <a:off x="9573781" y="733966"/>
                <a:ext cx="2373973" cy="6594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defRPr/>
                </a:pPr>
                <a:r>
                  <a:rPr lang="fr-FR" sz="1600" b="1" cap="small" dirty="0" smtClean="0">
                    <a:solidFill>
                      <a:schemeClr val="accent1">
                        <a:lumMod val="75000"/>
                      </a:schemeClr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COMMUNICATION</a:t>
                </a:r>
              </a:p>
              <a:p>
                <a:pPr algn="ctr">
                  <a:defRPr/>
                </a:pPr>
                <a:r>
                  <a:rPr lang="fr-FR" sz="1600" b="1" cap="small" dirty="0" smtClean="0">
                    <a:solidFill>
                      <a:schemeClr val="accent1">
                        <a:lumMod val="75000"/>
                      </a:schemeClr>
                    </a:solidFill>
                    <a:latin typeface="Times" panose="02020603050405020304" pitchFamily="18" charset="0"/>
                    <a:cs typeface="Times" panose="02020603050405020304" pitchFamily="18" charset="0"/>
                  </a:rPr>
                  <a:t>DIGITALE</a:t>
                </a:r>
                <a:endParaRPr lang="fr-FR" sz="1600" b="1" cap="small" dirty="0">
                  <a:solidFill>
                    <a:schemeClr val="accent1">
                      <a:lumMod val="75000"/>
                    </a:schemeClr>
                  </a:solidFill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  <p:sp>
            <p:nvSpPr>
              <p:cNvPr id="95" name="Rectangle 94">
                <a:extLst>
                  <a:ext uri="{FF2B5EF4-FFF2-40B4-BE49-F238E27FC236}">
                    <a16:creationId xmlns:a16="http://schemas.microsoft.com/office/drawing/2014/main" id="{D08B2B88-C404-4F8A-BD62-909B00818B26}"/>
                  </a:ext>
                </a:extLst>
              </p:cNvPr>
              <p:cNvSpPr/>
              <p:nvPr/>
            </p:nvSpPr>
            <p:spPr>
              <a:xfrm>
                <a:off x="9998343" y="1413387"/>
                <a:ext cx="1754928" cy="85584"/>
              </a:xfrm>
              <a:prstGeom prst="rect">
                <a:avLst/>
              </a:prstGeom>
              <a:solidFill>
                <a:srgbClr val="FED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latin typeface="Times" panose="02020603050405020304" pitchFamily="18" charset="0"/>
                  <a:cs typeface="Times" panose="02020603050405020304" pitchFamily="18" charset="0"/>
                </a:endParaRPr>
              </a:p>
            </p:txBody>
          </p:sp>
        </p:grpSp>
      </p:grpSp>
      <p:sp>
        <p:nvSpPr>
          <p:cNvPr id="96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</a:t>
            </a:fld>
            <a:endParaRPr lang="en-US"/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99" name="Rectangle 98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73" name="Rectangle 172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74" name="Espace réservé du numéro de diapositive 1">
            <a:extLst>
              <a:ext uri="{FF2B5EF4-FFF2-40B4-BE49-F238E27FC236}">
                <a16:creationId xmlns:a16="http://schemas.microsoft.com/office/drawing/2014/main" id="{11B845AF-831F-4286-A553-8AF66F3A8C49}"/>
              </a:ext>
            </a:extLst>
          </p:cNvPr>
          <p:cNvSpPr txBox="1">
            <a:spLocks/>
          </p:cNvSpPr>
          <p:nvPr/>
        </p:nvSpPr>
        <p:spPr>
          <a:xfrm>
            <a:off x="859366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098537B-3134-4043-B9D1-88E2ED42C5EC}" type="slidenum">
              <a:rPr lang="fr-FR" smtClean="0"/>
              <a:pPr/>
              <a:t>2</a:t>
            </a:fld>
            <a:endParaRPr lang="fr-FR"/>
          </a:p>
        </p:txBody>
      </p:sp>
      <p:grpSp>
        <p:nvGrpSpPr>
          <p:cNvPr id="175" name="Groupe 174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8" name="Rectangle 177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9" name="Rectangle 178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0" name="Rectangle 179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181" name="Rectangle 180"/>
          <p:cNvSpPr/>
          <p:nvPr/>
        </p:nvSpPr>
        <p:spPr>
          <a:xfrm>
            <a:off x="30353" y="468057"/>
            <a:ext cx="695329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SOMMAIRE</a:t>
            </a:r>
            <a:endParaRPr lang="fr-FR" sz="2800" b="1" dirty="0">
              <a:latin typeface="Garamond" panose="02020404030301010803" pitchFamily="18" charset="0"/>
            </a:endParaRPr>
          </a:p>
        </p:txBody>
      </p:sp>
      <p:pic>
        <p:nvPicPr>
          <p:cNvPr id="4" name="Audio 3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569700" y="62357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6514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39"/>
    </mc:Choice>
    <mc:Fallback xmlns="">
      <p:transition spd="slow" advTm="2939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4"/>
                </p:tgtEl>
              </p:cMediaNode>
            </p:audio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0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LATEFORME E-LEARNING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0</a:t>
            </a:fld>
            <a:endParaRPr lang="en-US" dirty="0"/>
          </a:p>
        </p:txBody>
      </p:sp>
      <p:pic>
        <p:nvPicPr>
          <p:cNvPr id="19" name="Image 1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1330" y="1505189"/>
            <a:ext cx="8686800" cy="4886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915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1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C: DEMANDES EN LIGNE / PERMIS DIGITAL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1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703223" y="1477825"/>
            <a:ext cx="1037178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505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mandes en ligne d’échange ou Duplicata du permis de conduire</a:t>
            </a:r>
          </a:p>
          <a:p>
            <a:pPr marL="357505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uthentification en utilisant les services du tiers de confiance nationale de la 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GSN</a:t>
            </a:r>
          </a:p>
          <a:p>
            <a:pPr marL="357505" lvl="0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aiement des droits en ligne</a:t>
            </a:r>
            <a:endParaRPr lang="fr-FR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éléchargement du récépissé de la conduite</a:t>
            </a:r>
          </a:p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éléchargement des attestations : Attestation de registre, authenticité…</a:t>
            </a:r>
          </a:p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endParaRPr lang="fr-FR" sz="20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Explosion 1 2"/>
          <p:cNvSpPr/>
          <p:nvPr/>
        </p:nvSpPr>
        <p:spPr>
          <a:xfrm>
            <a:off x="8204315" y="4497637"/>
            <a:ext cx="3014133" cy="1135025"/>
          </a:xfrm>
          <a:prstGeom prst="irregularSeal1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1.200.000 PC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8066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2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C: DEMANDES EN LIGNE / PERMIS DIGITAL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2</a:t>
            </a:fld>
            <a:endParaRPr lang="en-US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2350" y="1525659"/>
            <a:ext cx="10154229" cy="4924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931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3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C: DEMANDES EN LIGNE / PERMIS DIGITAL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3</a:t>
            </a:fld>
            <a:endParaRPr lang="en-US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00" y="1364866"/>
            <a:ext cx="6390167" cy="51121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963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4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C: DEMANDES EN LIGNE / PERMIS DIGITAL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4</a:t>
            </a:fld>
            <a:endParaRPr lang="en-US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0119" y="1452348"/>
            <a:ext cx="7620000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4246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5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C: DEMANDES EN LIGNE / PERMIS DIGITAL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5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703223" y="1477825"/>
            <a:ext cx="10371785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505" lvl="0" indent="-28575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l vise à moderniser et faciliter la gestion du permis de conduire en le rendant accessible via une application mobile</a:t>
            </a:r>
          </a:p>
          <a:p>
            <a:pPr marL="357505" lvl="0" indent="-28575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tocké sous forme électronique dans un appareil tel qu'un smartphone, une tablette </a:t>
            </a:r>
          </a:p>
          <a:p>
            <a:pPr marL="357505" lvl="0" indent="-28575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es conducteurs peuvent accéder à leur permis de conduire à tout moment via leur appareil mobile, ce qui est particulièrement pratique lors de contrôles routiers.</a:t>
            </a:r>
          </a:p>
          <a:p>
            <a:pPr marL="357505" lvl="0" indent="-28575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écurisées avec des mesures de sécurité garantissant l'intégrité et l'authenticité du document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357505" lvl="0" indent="-285750" algn="just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l contient les mêmes informations que le permis de conduire physique, y compris la photographie du titulaire, les catégories de véhicules autorisés à conduire, les dates 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 délivrance et d'expiration, solde des points.</a:t>
            </a:r>
            <a:endParaRPr lang="fr-FR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5102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065157" y="2275634"/>
            <a:ext cx="9109662" cy="2136877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altLang="fr-FR" sz="4800" b="1" dirty="0" smtClean="0">
                <a:latin typeface="Garamond" panose="02020404030301010803" pitchFamily="18" charset="0"/>
              </a:rPr>
              <a:t>BOUQUET E-SERVICES</a:t>
            </a:r>
            <a:endParaRPr lang="fr-FR" altLang="fr-FR" sz="4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26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6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548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7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7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REPAC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026107" y="1531113"/>
            <a:ext cx="83455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2000" b="1" dirty="0">
                <a:latin typeface="Garamond" panose="02020404030301010803" pitchFamily="18" charset="0"/>
              </a:rPr>
              <a:t>Portail dédié au programme de renouvellement du parc de transport routier</a:t>
            </a:r>
            <a:endParaRPr lang="en-US" sz="2000" b="1" dirty="0">
              <a:latin typeface="Garamond" panose="02020404030301010803" pitchFamily="18" charset="0"/>
            </a:endParaRPr>
          </a:p>
        </p:txBody>
      </p:sp>
      <p:grpSp>
        <p:nvGrpSpPr>
          <p:cNvPr id="21" name="Groupe 20"/>
          <p:cNvGrpSpPr/>
          <p:nvPr/>
        </p:nvGrpSpPr>
        <p:grpSpPr>
          <a:xfrm>
            <a:off x="4069709" y="2921878"/>
            <a:ext cx="7181175" cy="675250"/>
            <a:chOff x="2757268" y="1969476"/>
            <a:chExt cx="6972300" cy="675250"/>
          </a:xfrm>
        </p:grpSpPr>
        <p:sp>
          <p:nvSpPr>
            <p:cNvPr id="23" name="Rectangle à coins arrondis 22"/>
            <p:cNvSpPr/>
            <p:nvPr/>
          </p:nvSpPr>
          <p:spPr>
            <a:xfrm>
              <a:off x="3334043" y="1969477"/>
              <a:ext cx="6395525" cy="675249"/>
            </a:xfrm>
            <a:prstGeom prst="roundRect">
              <a:avLst/>
            </a:prstGeom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fr-FR" sz="20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aramond" panose="02020404030301010803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isposer d’une vision globale du déroulement du programme</a:t>
              </a:r>
              <a:endParaRPr lang="fr-FR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Garamond" panose="02020404030301010803" pitchFamily="18" charset="0"/>
              </a:endParaRPr>
            </a:p>
          </p:txBody>
        </p:sp>
        <p:sp>
          <p:nvSpPr>
            <p:cNvPr id="24" name="Flèche droite 23"/>
            <p:cNvSpPr/>
            <p:nvPr/>
          </p:nvSpPr>
          <p:spPr>
            <a:xfrm>
              <a:off x="2757268" y="1969476"/>
              <a:ext cx="633046" cy="675249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 sz="2000">
                <a:latin typeface="Garamond" panose="02020404030301010803" pitchFamily="18" charset="0"/>
              </a:endParaRPr>
            </a:p>
          </p:txBody>
        </p:sp>
      </p:grpSp>
      <p:grpSp>
        <p:nvGrpSpPr>
          <p:cNvPr id="25" name="Groupe 24"/>
          <p:cNvGrpSpPr/>
          <p:nvPr/>
        </p:nvGrpSpPr>
        <p:grpSpPr>
          <a:xfrm>
            <a:off x="4050951" y="3751291"/>
            <a:ext cx="7181175" cy="675250"/>
            <a:chOff x="2757268" y="1969476"/>
            <a:chExt cx="6972300" cy="675250"/>
          </a:xfrm>
        </p:grpSpPr>
        <p:sp>
          <p:nvSpPr>
            <p:cNvPr id="26" name="Rectangle à coins arrondis 25"/>
            <p:cNvSpPr/>
            <p:nvPr/>
          </p:nvSpPr>
          <p:spPr>
            <a:xfrm>
              <a:off x="3334043" y="1969477"/>
              <a:ext cx="6395525" cy="675249"/>
            </a:xfrm>
            <a:prstGeom prst="roundRect">
              <a:avLst/>
            </a:prstGeom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fr-FR" sz="20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aramond" panose="02020404030301010803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Fluidifier la gestion du cycle de vie des demandes</a:t>
              </a:r>
              <a:endParaRPr lang="fr-FR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Garamond" panose="02020404030301010803" pitchFamily="18" charset="0"/>
              </a:endParaRPr>
            </a:p>
          </p:txBody>
        </p:sp>
        <p:sp>
          <p:nvSpPr>
            <p:cNvPr id="27" name="Flèche droite 26"/>
            <p:cNvSpPr/>
            <p:nvPr/>
          </p:nvSpPr>
          <p:spPr>
            <a:xfrm>
              <a:off x="2757268" y="1969476"/>
              <a:ext cx="633046" cy="675249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 sz="2000">
                <a:latin typeface="Garamond" panose="02020404030301010803" pitchFamily="18" charset="0"/>
              </a:endParaRPr>
            </a:p>
          </p:txBody>
        </p:sp>
      </p:grpSp>
      <p:grpSp>
        <p:nvGrpSpPr>
          <p:cNvPr id="28" name="Groupe 27"/>
          <p:cNvGrpSpPr/>
          <p:nvPr/>
        </p:nvGrpSpPr>
        <p:grpSpPr>
          <a:xfrm>
            <a:off x="4050951" y="4571449"/>
            <a:ext cx="7181175" cy="675250"/>
            <a:chOff x="2757268" y="1969476"/>
            <a:chExt cx="6972300" cy="675250"/>
          </a:xfrm>
        </p:grpSpPr>
        <p:sp>
          <p:nvSpPr>
            <p:cNvPr id="29" name="Rectangle à coins arrondis 28"/>
            <p:cNvSpPr/>
            <p:nvPr/>
          </p:nvSpPr>
          <p:spPr>
            <a:xfrm>
              <a:off x="3334043" y="1969477"/>
              <a:ext cx="6395525" cy="675249"/>
            </a:xfrm>
            <a:prstGeom prst="round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fr-FR" sz="20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aramond" panose="02020404030301010803" pitchFamily="18" charset="0"/>
                </a:rPr>
                <a:t>Assurer un échange d’information entre les partenaires</a:t>
              </a:r>
              <a:endParaRPr lang="fr-FR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Garamond" panose="02020404030301010803" pitchFamily="18" charset="0"/>
              </a:endParaRPr>
            </a:p>
          </p:txBody>
        </p:sp>
        <p:sp>
          <p:nvSpPr>
            <p:cNvPr id="36" name="Flèche droite 35"/>
            <p:cNvSpPr/>
            <p:nvPr/>
          </p:nvSpPr>
          <p:spPr>
            <a:xfrm>
              <a:off x="2757268" y="1969476"/>
              <a:ext cx="633046" cy="675249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 sz="2000">
                <a:latin typeface="Garamond" panose="02020404030301010803" pitchFamily="18" charset="0"/>
              </a:endParaRPr>
            </a:p>
          </p:txBody>
        </p:sp>
      </p:grpSp>
      <p:grpSp>
        <p:nvGrpSpPr>
          <p:cNvPr id="37" name="Groupe 36"/>
          <p:cNvGrpSpPr/>
          <p:nvPr/>
        </p:nvGrpSpPr>
        <p:grpSpPr>
          <a:xfrm>
            <a:off x="4069709" y="5390205"/>
            <a:ext cx="7181175" cy="675250"/>
            <a:chOff x="2757268" y="1969476"/>
            <a:chExt cx="6972299" cy="675250"/>
          </a:xfrm>
        </p:grpSpPr>
        <p:sp>
          <p:nvSpPr>
            <p:cNvPr id="39" name="Rectangle à coins arrondis 38"/>
            <p:cNvSpPr/>
            <p:nvPr/>
          </p:nvSpPr>
          <p:spPr>
            <a:xfrm>
              <a:off x="3334043" y="1969477"/>
              <a:ext cx="6395524" cy="675249"/>
            </a:xfrm>
            <a:prstGeom prst="roundRect">
              <a:avLst/>
            </a:pr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fr-FR" sz="2000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aramond" panose="02020404030301010803" pitchFamily="18" charset="0"/>
                </a:rPr>
                <a:t>Faciliter l’accès à l’information </a:t>
              </a:r>
              <a:endParaRPr lang="fr-FR" sz="20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Garamond" panose="02020404030301010803" pitchFamily="18" charset="0"/>
              </a:endParaRPr>
            </a:p>
          </p:txBody>
        </p:sp>
        <p:sp>
          <p:nvSpPr>
            <p:cNvPr id="40" name="Flèche droite 39"/>
            <p:cNvSpPr/>
            <p:nvPr/>
          </p:nvSpPr>
          <p:spPr>
            <a:xfrm>
              <a:off x="2757268" y="1969476"/>
              <a:ext cx="633046" cy="675249"/>
            </a:xfrm>
            <a:prstGeom prst="rightArrow">
              <a:avLst/>
            </a:prstGeom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 sz="2000">
                <a:latin typeface="Garamond" panose="02020404030301010803" pitchFamily="18" charset="0"/>
              </a:endParaRPr>
            </a:p>
          </p:txBody>
        </p:sp>
      </p:grpSp>
      <p:grpSp>
        <p:nvGrpSpPr>
          <p:cNvPr id="41" name="Groupe 40"/>
          <p:cNvGrpSpPr/>
          <p:nvPr/>
        </p:nvGrpSpPr>
        <p:grpSpPr>
          <a:xfrm>
            <a:off x="4050951" y="2112377"/>
            <a:ext cx="7181175" cy="675250"/>
            <a:chOff x="2757268" y="1969476"/>
            <a:chExt cx="6972300" cy="675250"/>
          </a:xfrm>
        </p:grpSpPr>
        <p:sp>
          <p:nvSpPr>
            <p:cNvPr id="42" name="Rectangle à coins arrondis 41"/>
            <p:cNvSpPr/>
            <p:nvPr/>
          </p:nvSpPr>
          <p:spPr>
            <a:xfrm>
              <a:off x="3334043" y="1969477"/>
              <a:ext cx="6395525" cy="675249"/>
            </a:xfrm>
            <a:prstGeom prst="roundRect">
              <a:avLst/>
            </a:prstGeom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fr-FR" sz="2000" dirty="0" smtClean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aramond" panose="02020404030301010803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Digitaliser les </a:t>
              </a:r>
              <a:r>
                <a:rPr lang="fr-FR" sz="20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Garamond" panose="02020404030301010803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processus de la casse et du renouvellement du parc du transport routier </a:t>
              </a:r>
              <a:endParaRPr lang="en-US" sz="2000" dirty="0"/>
            </a:p>
          </p:txBody>
        </p:sp>
        <p:sp>
          <p:nvSpPr>
            <p:cNvPr id="43" name="Flèche droite 42"/>
            <p:cNvSpPr/>
            <p:nvPr/>
          </p:nvSpPr>
          <p:spPr>
            <a:xfrm>
              <a:off x="2757268" y="1969476"/>
              <a:ext cx="633046" cy="675249"/>
            </a:xfrm>
            <a:prstGeom prst="rightArrow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fr-FR" sz="2000">
                <a:latin typeface="Garamond" panose="02020404030301010803" pitchFamily="18" charset="0"/>
              </a:endParaRPr>
            </a:p>
          </p:txBody>
        </p:sp>
      </p:grpSp>
      <p:pic>
        <p:nvPicPr>
          <p:cNvPr id="44" name="Image 43"/>
          <p:cNvPicPr>
            <a:picLocks noChangeAspect="1"/>
          </p:cNvPicPr>
          <p:nvPr/>
        </p:nvPicPr>
        <p:blipFill rotWithShape="1">
          <a:blip r:embed="rId3"/>
          <a:srcRect r="2258"/>
          <a:stretch/>
        </p:blipFill>
        <p:spPr>
          <a:xfrm>
            <a:off x="704962" y="2180879"/>
            <a:ext cx="3316493" cy="3757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506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8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8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PREPAC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pic>
        <p:nvPicPr>
          <p:cNvPr id="45" name="Image 4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1564" y="1662348"/>
            <a:ext cx="762000" cy="828675"/>
          </a:xfrm>
          <a:prstGeom prst="rect">
            <a:avLst/>
          </a:prstGeom>
        </p:spPr>
      </p:pic>
      <p:grpSp>
        <p:nvGrpSpPr>
          <p:cNvPr id="46" name="Groupe 45"/>
          <p:cNvGrpSpPr/>
          <p:nvPr/>
        </p:nvGrpSpPr>
        <p:grpSpPr>
          <a:xfrm>
            <a:off x="1661157" y="2542813"/>
            <a:ext cx="8398133" cy="3657727"/>
            <a:chOff x="1661157" y="2542813"/>
            <a:chExt cx="8398133" cy="3657727"/>
          </a:xfrm>
        </p:grpSpPr>
        <p:grpSp>
          <p:nvGrpSpPr>
            <p:cNvPr id="47" name="Groupe 46"/>
            <p:cNvGrpSpPr/>
            <p:nvPr/>
          </p:nvGrpSpPr>
          <p:grpSpPr>
            <a:xfrm rot="16200000">
              <a:off x="4618514" y="491686"/>
              <a:ext cx="2251457" cy="7900735"/>
              <a:chOff x="5091817" y="-12031"/>
              <a:chExt cx="2008365" cy="6882062"/>
            </a:xfrm>
          </p:grpSpPr>
          <p:sp>
            <p:nvSpPr>
              <p:cNvPr id="62" name="Flèche en arc 61"/>
              <p:cNvSpPr/>
              <p:nvPr/>
            </p:nvSpPr>
            <p:spPr>
              <a:xfrm>
                <a:off x="5528457" y="-12031"/>
                <a:ext cx="1571725" cy="1571863"/>
              </a:xfrm>
              <a:prstGeom prst="circularArrow">
                <a:avLst>
                  <a:gd name="adj1" fmla="val 10980"/>
                  <a:gd name="adj2" fmla="val 1142322"/>
                  <a:gd name="adj3" fmla="val 4500000"/>
                  <a:gd name="adj4" fmla="val 10800000"/>
                  <a:gd name="adj5" fmla="val 12500"/>
                </a:avLst>
              </a:prstGeom>
              <a:solidFill>
                <a:srgbClr val="3E62AF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3" name="Forme 62"/>
              <p:cNvSpPr/>
              <p:nvPr/>
            </p:nvSpPr>
            <p:spPr>
              <a:xfrm>
                <a:off x="5091817" y="890895"/>
                <a:ext cx="1571725" cy="1571863"/>
              </a:xfrm>
              <a:prstGeom prst="leftCircularArrow">
                <a:avLst>
                  <a:gd name="adj1" fmla="val 10980"/>
                  <a:gd name="adj2" fmla="val 1142322"/>
                  <a:gd name="adj3" fmla="val 6300000"/>
                  <a:gd name="adj4" fmla="val 18900000"/>
                  <a:gd name="adj5" fmla="val 12500"/>
                </a:avLst>
              </a:prstGeom>
              <a:solidFill>
                <a:srgbClr val="3E62AF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4" name="Flèche en arc 63"/>
              <p:cNvSpPr/>
              <p:nvPr/>
            </p:nvSpPr>
            <p:spPr>
              <a:xfrm>
                <a:off x="5528457" y="1797951"/>
                <a:ext cx="1571725" cy="1571863"/>
              </a:xfrm>
              <a:prstGeom prst="circularArrow">
                <a:avLst>
                  <a:gd name="adj1" fmla="val 10980"/>
                  <a:gd name="adj2" fmla="val 1142322"/>
                  <a:gd name="adj3" fmla="val 4500000"/>
                  <a:gd name="adj4" fmla="val 13500000"/>
                  <a:gd name="adj5" fmla="val 12500"/>
                </a:avLst>
              </a:prstGeom>
              <a:solidFill>
                <a:srgbClr val="3E62AF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5" name="Forme 64"/>
              <p:cNvSpPr/>
              <p:nvPr/>
            </p:nvSpPr>
            <p:spPr>
              <a:xfrm>
                <a:off x="5091817" y="2702942"/>
                <a:ext cx="1571725" cy="1571863"/>
              </a:xfrm>
              <a:prstGeom prst="leftCircularArrow">
                <a:avLst>
                  <a:gd name="adj1" fmla="val 10980"/>
                  <a:gd name="adj2" fmla="val 1142322"/>
                  <a:gd name="adj3" fmla="val 6300000"/>
                  <a:gd name="adj4" fmla="val 18900000"/>
                  <a:gd name="adj5" fmla="val 12500"/>
                </a:avLst>
              </a:prstGeom>
              <a:solidFill>
                <a:srgbClr val="3E62AF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Flèche en arc 65"/>
              <p:cNvSpPr/>
              <p:nvPr/>
            </p:nvSpPr>
            <p:spPr>
              <a:xfrm>
                <a:off x="5528457" y="3606557"/>
                <a:ext cx="1571725" cy="1571863"/>
              </a:xfrm>
              <a:prstGeom prst="circularArrow">
                <a:avLst>
                  <a:gd name="adj1" fmla="val 10980"/>
                  <a:gd name="adj2" fmla="val 1142322"/>
                  <a:gd name="adj3" fmla="val 4500000"/>
                  <a:gd name="adj4" fmla="val 13500000"/>
                  <a:gd name="adj5" fmla="val 12500"/>
                </a:avLst>
              </a:prstGeom>
              <a:solidFill>
                <a:srgbClr val="3E62AF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7" name="Forme 66"/>
              <p:cNvSpPr/>
              <p:nvPr/>
            </p:nvSpPr>
            <p:spPr>
              <a:xfrm>
                <a:off x="5091817" y="4511549"/>
                <a:ext cx="1571725" cy="1571863"/>
              </a:xfrm>
              <a:prstGeom prst="leftCircularArrow">
                <a:avLst>
                  <a:gd name="adj1" fmla="val 10980"/>
                  <a:gd name="adj2" fmla="val 1142322"/>
                  <a:gd name="adj3" fmla="val 6300000"/>
                  <a:gd name="adj4" fmla="val 18900000"/>
                  <a:gd name="adj5" fmla="val 12500"/>
                </a:avLst>
              </a:prstGeom>
              <a:solidFill>
                <a:srgbClr val="3E62AF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Arc plein 67"/>
              <p:cNvSpPr/>
              <p:nvPr/>
            </p:nvSpPr>
            <p:spPr>
              <a:xfrm>
                <a:off x="5640197" y="5519083"/>
                <a:ext cx="1350310" cy="1350948"/>
              </a:xfrm>
              <a:prstGeom prst="blockArc">
                <a:avLst>
                  <a:gd name="adj1" fmla="val 13500000"/>
                  <a:gd name="adj2" fmla="val 10800000"/>
                  <a:gd name="adj3" fmla="val 12740"/>
                </a:avLst>
              </a:prstGeom>
              <a:solidFill>
                <a:srgbClr val="3E62AF"/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pic>
          <p:nvPicPr>
            <p:cNvPr id="48" name="Image 47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339675" y="3850178"/>
              <a:ext cx="629040" cy="691944"/>
            </a:xfrm>
            <a:prstGeom prst="rect">
              <a:avLst/>
            </a:prstGeom>
          </p:spPr>
        </p:pic>
        <p:pic>
          <p:nvPicPr>
            <p:cNvPr id="49" name="Image 48"/>
            <p:cNvPicPr>
              <a:picLocks noChangeAspect="1"/>
            </p:cNvPicPr>
            <p:nvPr/>
          </p:nvPicPr>
          <p:blipFill rotWithShape="1">
            <a:blip r:embed="rId5"/>
            <a:srcRect r="14832" b="22760"/>
            <a:stretch/>
          </p:blipFill>
          <p:spPr>
            <a:xfrm>
              <a:off x="4394559" y="3792243"/>
              <a:ext cx="624527" cy="614945"/>
            </a:xfrm>
            <a:prstGeom prst="rect">
              <a:avLst/>
            </a:prstGeom>
          </p:spPr>
        </p:pic>
        <p:pic>
          <p:nvPicPr>
            <p:cNvPr id="50" name="Image 49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445471" y="4423991"/>
              <a:ext cx="667872" cy="667872"/>
            </a:xfrm>
            <a:prstGeom prst="ellipse">
              <a:avLst/>
            </a:prstGeom>
            <a:ln w="3175" cap="rnd">
              <a:solidFill>
                <a:srgbClr val="D9EFF8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51" name="Image 5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386975" y="4366418"/>
              <a:ext cx="616496" cy="667872"/>
            </a:xfrm>
            <a:prstGeom prst="ellipse">
              <a:avLst/>
            </a:prstGeom>
            <a:ln w="3175" cap="rnd">
              <a:solidFill>
                <a:srgbClr val="D9EFF8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52" name="Image 51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466142" y="3881531"/>
              <a:ext cx="666451" cy="542460"/>
            </a:xfrm>
            <a:prstGeom prst="ellipse">
              <a:avLst/>
            </a:prstGeom>
            <a:ln w="3175" cap="rnd">
              <a:solidFill>
                <a:srgbClr val="D9EFF8"/>
              </a:solidFill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pic>
          <p:nvPicPr>
            <p:cNvPr id="53" name="Image 52"/>
            <p:cNvPicPr>
              <a:picLocks noChangeAspect="1"/>
            </p:cNvPicPr>
            <p:nvPr/>
          </p:nvPicPr>
          <p:blipFill rotWithShape="1">
            <a:blip r:embed="rId9"/>
            <a:srcRect r="7567" b="13809"/>
            <a:stretch/>
          </p:blipFill>
          <p:spPr>
            <a:xfrm>
              <a:off x="7501694" y="4401814"/>
              <a:ext cx="642003" cy="582891"/>
            </a:xfrm>
            <a:prstGeom prst="rect">
              <a:avLst/>
            </a:prstGeom>
          </p:spPr>
        </p:pic>
        <p:pic>
          <p:nvPicPr>
            <p:cNvPr id="54" name="Image 53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512798" y="3850178"/>
              <a:ext cx="771705" cy="771705"/>
            </a:xfrm>
            <a:prstGeom prst="rect">
              <a:avLst/>
            </a:prstGeom>
          </p:spPr>
        </p:pic>
        <p:sp>
          <p:nvSpPr>
            <p:cNvPr id="55" name="Rectangle 54"/>
            <p:cNvSpPr/>
            <p:nvPr/>
          </p:nvSpPr>
          <p:spPr>
            <a:xfrm>
              <a:off x="1661157" y="2775406"/>
              <a:ext cx="1937246" cy="64633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fr-FR" dirty="0" smtClean="0">
                  <a:ln w="0"/>
                  <a:latin typeface="Garamond" panose="02020404030301010803" pitchFamily="18" charset="0"/>
                  <a:cs typeface="Times New Roman" panose="02020603050405020304" pitchFamily="18" charset="0"/>
                </a:rPr>
                <a:t>Demande de création de compte</a:t>
              </a:r>
              <a:endParaRPr lang="en-US" dirty="0"/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696139" y="5554209"/>
              <a:ext cx="1937246" cy="64633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fr-FR" dirty="0" smtClean="0">
                  <a:ln w="0"/>
                  <a:latin typeface="Garamond" panose="02020404030301010803" pitchFamily="18" charset="0"/>
                  <a:cs typeface="Times New Roman" panose="02020603050405020304" pitchFamily="18" charset="0"/>
                </a:rPr>
                <a:t>Activation du compte</a:t>
              </a:r>
              <a:endParaRPr lang="en-US" dirty="0"/>
            </a:p>
          </p:txBody>
        </p:sp>
        <p:sp>
          <p:nvSpPr>
            <p:cNvPr id="57" name="Rectangle 56"/>
            <p:cNvSpPr/>
            <p:nvPr/>
          </p:nvSpPr>
          <p:spPr>
            <a:xfrm>
              <a:off x="3759532" y="2542813"/>
              <a:ext cx="2103008" cy="92333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fr-FR" dirty="0" smtClean="0">
                  <a:ln w="0"/>
                  <a:latin typeface="Garamond" panose="02020404030301010803" pitchFamily="18" charset="0"/>
                  <a:cs typeface="Times New Roman" panose="02020603050405020304" pitchFamily="18" charset="0"/>
                </a:rPr>
                <a:t>Création de la demande de casse ou de renouvellement</a:t>
              </a:r>
              <a:endParaRPr lang="en-US" dirty="0"/>
            </a:p>
          </p:txBody>
        </p:sp>
        <p:sp>
          <p:nvSpPr>
            <p:cNvPr id="58" name="Rectangle 57"/>
            <p:cNvSpPr/>
            <p:nvPr/>
          </p:nvSpPr>
          <p:spPr>
            <a:xfrm>
              <a:off x="4777996" y="5528637"/>
              <a:ext cx="1937246" cy="64633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fr-FR" dirty="0" smtClean="0">
                  <a:ln w="0"/>
                  <a:latin typeface="Garamond" panose="02020404030301010803" pitchFamily="18" charset="0"/>
                  <a:cs typeface="Times New Roman" panose="02020603050405020304" pitchFamily="18" charset="0"/>
                </a:rPr>
                <a:t>Eligibilité de la demande</a:t>
              </a:r>
              <a:endParaRPr lang="en-US" dirty="0"/>
            </a:p>
          </p:txBody>
        </p:sp>
        <p:sp>
          <p:nvSpPr>
            <p:cNvPr id="59" name="Rectangle 58"/>
            <p:cNvSpPr/>
            <p:nvPr/>
          </p:nvSpPr>
          <p:spPr>
            <a:xfrm>
              <a:off x="6023669" y="2721960"/>
              <a:ext cx="1937246" cy="36933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fr-FR" dirty="0" smtClean="0">
                  <a:ln w="0"/>
                  <a:latin typeface="Garamond" panose="02020404030301010803" pitchFamily="18" charset="0"/>
                  <a:cs typeface="Times New Roman" panose="02020603050405020304" pitchFamily="18" charset="0"/>
                </a:rPr>
                <a:t>Engagement</a:t>
              </a:r>
              <a:endParaRPr lang="en-US" dirty="0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992292" y="5508042"/>
              <a:ext cx="1937246" cy="646331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fr-FR" dirty="0" smtClean="0">
                  <a:ln w="0"/>
                  <a:latin typeface="Garamond" panose="02020404030301010803" pitchFamily="18" charset="0"/>
                  <a:cs typeface="Times New Roman" panose="02020603050405020304" pitchFamily="18" charset="0"/>
                </a:rPr>
                <a:t>Dépôt du véhicule et des documents</a:t>
              </a:r>
              <a:endParaRPr lang="en-US" dirty="0"/>
            </a:p>
          </p:txBody>
        </p:sp>
        <p:sp>
          <p:nvSpPr>
            <p:cNvPr id="61" name="Rectangle 60"/>
            <p:cNvSpPr/>
            <p:nvPr/>
          </p:nvSpPr>
          <p:spPr>
            <a:xfrm>
              <a:off x="8122044" y="2746296"/>
              <a:ext cx="1937246" cy="36933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fr-FR" dirty="0" smtClean="0">
                  <a:ln w="0"/>
                  <a:latin typeface="Garamond" panose="02020404030301010803" pitchFamily="18" charset="0"/>
                  <a:cs typeface="Times New Roman" panose="02020603050405020304" pitchFamily="18" charset="0"/>
                </a:rPr>
                <a:t>Paiement</a:t>
              </a:r>
              <a:endParaRPr lang="en-US" dirty="0"/>
            </a:p>
          </p:txBody>
        </p:sp>
      </p:grpSp>
      <p:sp>
        <p:nvSpPr>
          <p:cNvPr id="69" name="Rectangle 68"/>
          <p:cNvSpPr/>
          <p:nvPr/>
        </p:nvSpPr>
        <p:spPr>
          <a:xfrm>
            <a:off x="2033564" y="1719037"/>
            <a:ext cx="8345532" cy="70788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fr-FR" sz="2000" b="1" dirty="0" smtClean="0">
                <a:latin typeface="Garamond" panose="02020404030301010803" pitchFamily="18" charset="0"/>
              </a:rPr>
              <a:t>Etapes du traitement des demandes de casses et de renouvellement via le portail dédié au renouvellement du parc routier </a:t>
            </a:r>
            <a:endParaRPr lang="en-US" sz="2000" b="1" dirty="0">
              <a:latin typeface="Garamond" panose="02020404030301010803" pitchFamily="18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9932552" y="3731855"/>
            <a:ext cx="1961611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fr-FR" b="1" dirty="0"/>
              <a:t>4295 demandes ont été enregistrés dont 1705 étaient </a:t>
            </a:r>
            <a:r>
              <a:rPr lang="fr-FR" b="1" dirty="0" smtClean="0"/>
              <a:t>éligibles</a:t>
            </a:r>
          </a:p>
          <a:p>
            <a:pPr algn="ctr"/>
            <a:endParaRPr lang="fr-FR" b="1" dirty="0" smtClean="0"/>
          </a:p>
          <a:p>
            <a:pPr algn="ctr"/>
            <a:r>
              <a:rPr lang="fr-FR" b="1" dirty="0" smtClean="0"/>
              <a:t>Montant engagé 229 MDHS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730069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29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29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Garamond" panose="02020404030301010803" pitchFamily="18" charset="0"/>
              </a:rPr>
              <a:t>PORTAIL DE </a:t>
            </a:r>
            <a:r>
              <a:rPr lang="en-US" sz="2800" b="1" dirty="0" smtClean="0">
                <a:latin typeface="Garamond" panose="02020404030301010803" pitchFamily="18" charset="0"/>
              </a:rPr>
              <a:t>MUTATION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2" name="ZoneTexte 1"/>
          <p:cNvSpPr txBox="1"/>
          <p:nvPr/>
        </p:nvSpPr>
        <p:spPr>
          <a:xfrm>
            <a:off x="8978849" y="2574374"/>
            <a:ext cx="23876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 smtClean="0"/>
              <a:t>950.000 recherches</a:t>
            </a:r>
          </a:p>
          <a:p>
            <a:endParaRPr lang="fr-FR" b="1" dirty="0"/>
          </a:p>
          <a:p>
            <a:r>
              <a:rPr lang="fr-FR" b="1" dirty="0" smtClean="0"/>
              <a:t>276.000 Demandes</a:t>
            </a:r>
            <a:endParaRPr lang="fr-FR" b="1" dirty="0"/>
          </a:p>
        </p:txBody>
      </p:sp>
      <p:grpSp>
        <p:nvGrpSpPr>
          <p:cNvPr id="36" name="Groupe 35"/>
          <p:cNvGrpSpPr/>
          <p:nvPr/>
        </p:nvGrpSpPr>
        <p:grpSpPr>
          <a:xfrm>
            <a:off x="10065716" y="5109524"/>
            <a:ext cx="771705" cy="771705"/>
            <a:chOff x="7838895" y="5079054"/>
            <a:chExt cx="771705" cy="771705"/>
          </a:xfrm>
        </p:grpSpPr>
        <p:pic>
          <p:nvPicPr>
            <p:cNvPr id="37" name="Image 3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38895" y="5079054"/>
              <a:ext cx="771705" cy="771705"/>
            </a:xfrm>
            <a:prstGeom prst="rect">
              <a:avLst/>
            </a:prstGeom>
          </p:spPr>
        </p:pic>
        <p:sp>
          <p:nvSpPr>
            <p:cNvPr id="39" name="Flèche vers le bas 38"/>
            <p:cNvSpPr/>
            <p:nvPr/>
          </p:nvSpPr>
          <p:spPr>
            <a:xfrm>
              <a:off x="8187560" y="5244662"/>
              <a:ext cx="157656" cy="210207"/>
            </a:xfrm>
            <a:prstGeom prst="downArrow">
              <a:avLst/>
            </a:prstGeom>
            <a:solidFill>
              <a:srgbClr val="646FA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45" name="Diagramme 44"/>
          <p:cNvGraphicFramePr/>
          <p:nvPr>
            <p:extLst>
              <p:ext uri="{D42A27DB-BD31-4B8C-83A1-F6EECF244321}">
                <p14:modId xmlns:p14="http://schemas.microsoft.com/office/powerpoint/2010/main" val="782380876"/>
              </p:ext>
            </p:extLst>
          </p:nvPr>
        </p:nvGraphicFramePr>
        <p:xfrm>
          <a:off x="4169921" y="2144671"/>
          <a:ext cx="7183879" cy="38926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46" name="Image 45"/>
          <p:cNvPicPr>
            <a:picLocks noChangeAspect="1"/>
          </p:cNvPicPr>
          <p:nvPr/>
        </p:nvPicPr>
        <p:blipFill rotWithShape="1">
          <a:blip r:embed="rId9"/>
          <a:srcRect r="14832" b="22760"/>
          <a:stretch/>
        </p:blipFill>
        <p:spPr>
          <a:xfrm>
            <a:off x="7207986" y="2359487"/>
            <a:ext cx="624527" cy="614945"/>
          </a:xfrm>
          <a:prstGeom prst="rect">
            <a:avLst/>
          </a:prstGeom>
        </p:spPr>
      </p:pic>
      <p:pic>
        <p:nvPicPr>
          <p:cNvPr id="47" name="Image 46"/>
          <p:cNvPicPr>
            <a:picLocks noChangeAspect="1"/>
          </p:cNvPicPr>
          <p:nvPr/>
        </p:nvPicPr>
        <p:blipFill rotWithShape="1">
          <a:blip r:embed="rId10"/>
          <a:srcRect r="7567" b="13809"/>
          <a:stretch/>
        </p:blipFill>
        <p:spPr>
          <a:xfrm>
            <a:off x="8605568" y="3799527"/>
            <a:ext cx="642003" cy="582891"/>
          </a:xfrm>
          <a:prstGeom prst="rect">
            <a:avLst/>
          </a:prstGeom>
        </p:spPr>
      </p:pic>
      <p:grpSp>
        <p:nvGrpSpPr>
          <p:cNvPr id="48" name="Groupe 47"/>
          <p:cNvGrpSpPr/>
          <p:nvPr/>
        </p:nvGrpSpPr>
        <p:grpSpPr>
          <a:xfrm>
            <a:off x="10065716" y="4999457"/>
            <a:ext cx="771705" cy="771705"/>
            <a:chOff x="7838895" y="5079054"/>
            <a:chExt cx="771705" cy="771705"/>
          </a:xfrm>
        </p:grpSpPr>
        <p:pic>
          <p:nvPicPr>
            <p:cNvPr id="49" name="Image 4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838895" y="5079054"/>
              <a:ext cx="771705" cy="771705"/>
            </a:xfrm>
            <a:prstGeom prst="rect">
              <a:avLst/>
            </a:prstGeom>
          </p:spPr>
        </p:pic>
        <p:sp>
          <p:nvSpPr>
            <p:cNvPr id="50" name="Flèche vers le bas 49"/>
            <p:cNvSpPr/>
            <p:nvPr/>
          </p:nvSpPr>
          <p:spPr>
            <a:xfrm>
              <a:off x="8187560" y="5244662"/>
              <a:ext cx="157656" cy="210207"/>
            </a:xfrm>
            <a:prstGeom prst="downArrow">
              <a:avLst/>
            </a:prstGeom>
            <a:solidFill>
              <a:srgbClr val="646FA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1" name="Image 5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1698" y="2104029"/>
            <a:ext cx="4270747" cy="3973886"/>
          </a:xfrm>
          <a:prstGeom prst="rect">
            <a:avLst/>
          </a:prstGeom>
        </p:spPr>
      </p:pic>
      <p:sp>
        <p:nvSpPr>
          <p:cNvPr id="52" name="TextBox 20">
            <a:extLst>
              <a:ext uri="{FF2B5EF4-FFF2-40B4-BE49-F238E27FC236}">
                <a16:creationId xmlns:a16="http://schemas.microsoft.com/office/drawing/2014/main" id="{48ACBD4C-5DE0-71B3-92CE-E28A7D3BF409}"/>
              </a:ext>
            </a:extLst>
          </p:cNvPr>
          <p:cNvSpPr txBox="1"/>
          <p:nvPr/>
        </p:nvSpPr>
        <p:spPr>
          <a:xfrm>
            <a:off x="6120119" y="6077915"/>
            <a:ext cx="34116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latin typeface="Garamond" panose="02020404030301010803" pitchFamily="18" charset="0"/>
              </a:rPr>
              <a:t>https://www.mutationvehicule.ma/</a:t>
            </a:r>
          </a:p>
        </p:txBody>
      </p:sp>
    </p:spTree>
    <p:extLst>
      <p:ext uri="{BB962C8B-B14F-4D97-AF65-F5344CB8AC3E}">
        <p14:creationId xmlns:p14="http://schemas.microsoft.com/office/powerpoint/2010/main" val="561843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3063209" y="2145698"/>
            <a:ext cx="6676214" cy="2054162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altLang="fr-FR" sz="4800" b="1" dirty="0" smtClean="0">
                <a:latin typeface="Garamond" panose="02020404030301010803" pitchFamily="18" charset="0"/>
              </a:rPr>
              <a:t>PRESENTATION </a:t>
            </a:r>
          </a:p>
          <a:p>
            <a:pPr lvl="0" algn="ctr">
              <a:defRPr/>
            </a:pPr>
            <a:r>
              <a:rPr lang="fr-FR" altLang="fr-FR" sz="4800" b="1" dirty="0" smtClean="0">
                <a:latin typeface="Garamond" panose="02020404030301010803" pitchFamily="18" charset="0"/>
              </a:rPr>
              <a:t>DE LA NARSA</a:t>
            </a:r>
            <a:endParaRPr lang="fr-FR" altLang="fr-FR" sz="4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3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pic>
        <p:nvPicPr>
          <p:cNvPr id="2" name="Audio 1">
            <a:hlinkClick r:id="" action="ppaction://media"/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569700" y="6235700"/>
            <a:ext cx="406400" cy="40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24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36"/>
    </mc:Choice>
    <mc:Fallback xmlns="">
      <p:transition spd="slow" advTm="1336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 isNarration="1">
              <p:cMediaNode vol="80000" showWhenStoppe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"/>
                </p:tgtEl>
              </p:cMediaNode>
            </p:audio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0581" y="499644"/>
            <a:ext cx="2741419" cy="1114843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Garamond" panose="02020404030301010803" pitchFamily="18" charset="0"/>
              </a:rPr>
              <a:t>PORTAIL DE MUTATION</a:t>
            </a:r>
          </a:p>
        </p:txBody>
      </p:sp>
      <p:sp>
        <p:nvSpPr>
          <p:cNvPr id="5" name="Rectangle 4"/>
          <p:cNvSpPr/>
          <p:nvPr/>
        </p:nvSpPr>
        <p:spPr>
          <a:xfrm>
            <a:off x="2514600" y="1676400"/>
            <a:ext cx="73304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kern="0" dirty="0">
                <a:latin typeface="Garamond" panose="02020404030301010803" pitchFamily="18" charset="0"/>
              </a:rPr>
              <a:t>Dématérialisation de la procédure de mutation des véhicules d’occasion</a:t>
            </a:r>
            <a:endParaRPr lang="en-US" dirty="0">
              <a:latin typeface="Garamond" panose="02020404030301010803" pitchFamily="18" charset="0"/>
            </a:endParaRPr>
          </a:p>
        </p:txBody>
      </p:sp>
      <p:sp>
        <p:nvSpPr>
          <p:cNvPr id="6" name="Flèche droite 5"/>
          <p:cNvSpPr/>
          <p:nvPr/>
        </p:nvSpPr>
        <p:spPr>
          <a:xfrm>
            <a:off x="1493520" y="1691640"/>
            <a:ext cx="899160" cy="31813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Diagramme 1"/>
          <p:cNvGraphicFramePr/>
          <p:nvPr>
            <p:extLst/>
          </p:nvPr>
        </p:nvGraphicFramePr>
        <p:xfrm>
          <a:off x="4169921" y="2254738"/>
          <a:ext cx="7183879" cy="38926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Espace réservé du numéro de diapositiv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30</a:t>
            </a:fld>
            <a:endParaRPr lang="en-US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 rotWithShape="1">
          <a:blip r:embed="rId8"/>
          <a:srcRect r="14832" b="22760"/>
          <a:stretch/>
        </p:blipFill>
        <p:spPr>
          <a:xfrm>
            <a:off x="7207986" y="2469554"/>
            <a:ext cx="624527" cy="614945"/>
          </a:xfrm>
          <a:prstGeom prst="rect">
            <a:avLst/>
          </a:prstGeom>
        </p:spPr>
      </p:pic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9"/>
          <a:srcRect r="7567" b="13809"/>
          <a:stretch/>
        </p:blipFill>
        <p:spPr>
          <a:xfrm>
            <a:off x="8605568" y="3909594"/>
            <a:ext cx="642003" cy="582891"/>
          </a:xfrm>
          <a:prstGeom prst="rect">
            <a:avLst/>
          </a:prstGeom>
        </p:spPr>
      </p:pic>
      <p:grpSp>
        <p:nvGrpSpPr>
          <p:cNvPr id="12" name="Groupe 11"/>
          <p:cNvGrpSpPr/>
          <p:nvPr/>
        </p:nvGrpSpPr>
        <p:grpSpPr>
          <a:xfrm>
            <a:off x="10065716" y="5109524"/>
            <a:ext cx="771705" cy="771705"/>
            <a:chOff x="7838895" y="5079054"/>
            <a:chExt cx="771705" cy="771705"/>
          </a:xfrm>
        </p:grpSpPr>
        <p:pic>
          <p:nvPicPr>
            <p:cNvPr id="10" name="Image 9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838895" y="5079054"/>
              <a:ext cx="771705" cy="771705"/>
            </a:xfrm>
            <a:prstGeom prst="rect">
              <a:avLst/>
            </a:prstGeom>
          </p:spPr>
        </p:pic>
        <p:sp>
          <p:nvSpPr>
            <p:cNvPr id="11" name="Flèche vers le bas 10"/>
            <p:cNvSpPr/>
            <p:nvPr/>
          </p:nvSpPr>
          <p:spPr>
            <a:xfrm>
              <a:off x="8187560" y="5244662"/>
              <a:ext cx="157656" cy="210207"/>
            </a:xfrm>
            <a:prstGeom prst="downArrow">
              <a:avLst/>
            </a:prstGeom>
            <a:solidFill>
              <a:srgbClr val="646FA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11698" y="2214096"/>
            <a:ext cx="4270747" cy="3973886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48ACBD4C-5DE0-71B3-92CE-E28A7D3BF409}"/>
              </a:ext>
            </a:extLst>
          </p:cNvPr>
          <p:cNvSpPr txBox="1"/>
          <p:nvPr/>
        </p:nvSpPr>
        <p:spPr>
          <a:xfrm>
            <a:off x="6120119" y="6187982"/>
            <a:ext cx="341166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FR" dirty="0">
                <a:latin typeface="Garamond" panose="02020404030301010803" pitchFamily="18" charset="0"/>
              </a:rPr>
              <a:t>https://www.mutationvehicule.ma/</a:t>
            </a:r>
          </a:p>
        </p:txBody>
      </p:sp>
    </p:spTree>
    <p:extLst>
      <p:ext uri="{BB962C8B-B14F-4D97-AF65-F5344CB8AC3E}">
        <p14:creationId xmlns:p14="http://schemas.microsoft.com/office/powerpoint/2010/main" val="234372610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1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31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800" b="1" dirty="0">
                <a:latin typeface="Garamond" panose="02020404030301010803" pitchFamily="18" charset="0"/>
              </a:rPr>
              <a:t>PORTAIL DE </a:t>
            </a:r>
            <a:r>
              <a:rPr lang="en-US" sz="2800" b="1" dirty="0" smtClean="0">
                <a:latin typeface="Garamond" panose="02020404030301010803" pitchFamily="18" charset="0"/>
              </a:rPr>
              <a:t>MUTATION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pic>
        <p:nvPicPr>
          <p:cNvPr id="25" name="Image 24" descr="C:\Users\User\Desktop\Suivi des projets SI\5.PNG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1698" y="1710531"/>
            <a:ext cx="4642168" cy="4549775"/>
          </a:xfrm>
          <a:prstGeom prst="rect">
            <a:avLst/>
          </a:prstGeom>
          <a:noFill/>
          <a:ln>
            <a:noFill/>
          </a:ln>
        </p:spPr>
      </p:pic>
      <p:pic>
        <p:nvPicPr>
          <p:cNvPr id="26" name="Image 2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53" y="4266102"/>
            <a:ext cx="5593395" cy="2466180"/>
          </a:xfrm>
          <a:prstGeom prst="rect">
            <a:avLst/>
          </a:prstGeom>
        </p:spPr>
      </p:pic>
      <p:pic>
        <p:nvPicPr>
          <p:cNvPr id="27" name="Image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3153" y="1404647"/>
            <a:ext cx="5546553" cy="284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3851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2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32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>
                <a:latin typeface="Garamond" panose="02020404030301010803" pitchFamily="18" charset="0"/>
              </a:rPr>
              <a:t>CONSULTATION DES OPPOSITIONS</a:t>
            </a:r>
          </a:p>
        </p:txBody>
      </p:sp>
      <p:graphicFrame>
        <p:nvGraphicFramePr>
          <p:cNvPr id="42" name="Diagramme 41"/>
          <p:cNvGraphicFramePr/>
          <p:nvPr>
            <p:extLst>
              <p:ext uri="{D42A27DB-BD31-4B8C-83A1-F6EECF244321}">
                <p14:modId xmlns:p14="http://schemas.microsoft.com/office/powerpoint/2010/main" val="779347963"/>
              </p:ext>
            </p:extLst>
          </p:nvPr>
        </p:nvGraphicFramePr>
        <p:xfrm>
          <a:off x="4576276" y="2371199"/>
          <a:ext cx="7129463" cy="322843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3" name="Image 4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891" y="1771650"/>
            <a:ext cx="3681269" cy="4448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177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3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33</a:t>
            </a:fld>
            <a:endParaRPr lang="en-US" dirty="0"/>
          </a:p>
        </p:txBody>
      </p:sp>
      <p:sp>
        <p:nvSpPr>
          <p:cNvPr id="19" name="Rectangle 18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>
                <a:latin typeface="Garamond" panose="02020404030301010803" pitchFamily="18" charset="0"/>
              </a:rPr>
              <a:t> SUIVI DES DOSSIERS </a:t>
            </a:r>
            <a:r>
              <a:rPr lang="fr-FR" sz="2800" b="1" dirty="0" smtClean="0">
                <a:latin typeface="Garamond" panose="02020404030301010803" pitchFamily="18" charset="0"/>
              </a:rPr>
              <a:t>PC/CG</a:t>
            </a:r>
            <a:endParaRPr lang="fr-FR" sz="2800" b="1" dirty="0">
              <a:latin typeface="Garamond" panose="02020404030301010803" pitchFamily="18" charset="0"/>
            </a:endParaRPr>
          </a:p>
        </p:txBody>
      </p:sp>
      <p:graphicFrame>
        <p:nvGraphicFramePr>
          <p:cNvPr id="20" name="Diagramme 19"/>
          <p:cNvGraphicFramePr/>
          <p:nvPr>
            <p:extLst>
              <p:ext uri="{D42A27DB-BD31-4B8C-83A1-F6EECF244321}">
                <p14:modId xmlns:p14="http://schemas.microsoft.com/office/powerpoint/2010/main" val="2272744119"/>
              </p:ext>
            </p:extLst>
          </p:nvPr>
        </p:nvGraphicFramePr>
        <p:xfrm>
          <a:off x="4650701" y="2672665"/>
          <a:ext cx="7129463" cy="25616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1" name="Image 2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5564" y="1749333"/>
            <a:ext cx="3652838" cy="4408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9563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>
                <a:latin typeface="Garamond" panose="02020404030301010803" pitchFamily="18" charset="0"/>
              </a:rPr>
              <a:t>INFRACTIONS ROUTIERES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graphicFrame>
        <p:nvGraphicFramePr>
          <p:cNvPr id="5" name="Diagramme 4"/>
          <p:cNvGraphicFramePr/>
          <p:nvPr>
            <p:extLst/>
          </p:nvPr>
        </p:nvGraphicFramePr>
        <p:xfrm>
          <a:off x="4965031" y="2213426"/>
          <a:ext cx="6388769" cy="3792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34</a:t>
            </a:fld>
            <a:endParaRPr lang="en-US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2" r="282" b="11111"/>
          <a:stretch/>
        </p:blipFill>
        <p:spPr>
          <a:xfrm>
            <a:off x="498027" y="1762921"/>
            <a:ext cx="4384669" cy="469311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pic>
        <p:nvPicPr>
          <p:cNvPr id="16" name="Imag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grpSp>
        <p:nvGrpSpPr>
          <p:cNvPr id="17" name="Groupe 16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99173883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>
                <a:latin typeface="Garamond" panose="02020404030301010803" pitchFamily="18" charset="0"/>
              </a:rPr>
              <a:t>TASRIH SAEQ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graphicFrame>
        <p:nvGraphicFramePr>
          <p:cNvPr id="5" name="Diagramme 4"/>
          <p:cNvGraphicFramePr/>
          <p:nvPr>
            <p:extLst/>
          </p:nvPr>
        </p:nvGraphicFramePr>
        <p:xfrm>
          <a:off x="3691827" y="1797567"/>
          <a:ext cx="8010646" cy="39012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35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8718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264" y="2074898"/>
            <a:ext cx="3225279" cy="3921638"/>
          </a:xfrm>
          <a:prstGeom prst="rect">
            <a:avLst/>
          </a:prstGeom>
        </p:spPr>
      </p:pic>
      <p:pic>
        <p:nvPicPr>
          <p:cNvPr id="15" name="Image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grpSp>
        <p:nvGrpSpPr>
          <p:cNvPr id="16" name="Groupe 15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408208428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065157" y="2275634"/>
            <a:ext cx="9109662" cy="2136877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4800" b="1" dirty="0">
                <a:latin typeface="Garamond" panose="02020404030301010803" pitchFamily="18" charset="0"/>
              </a:rPr>
              <a:t>COMMUNICATION </a:t>
            </a:r>
            <a:endParaRPr lang="fr-FR" sz="4800" b="1" dirty="0" smtClean="0">
              <a:latin typeface="Garamond" panose="02020404030301010803" pitchFamily="18" charset="0"/>
            </a:endParaRPr>
          </a:p>
          <a:p>
            <a:pPr algn="ctr">
              <a:defRPr/>
            </a:pPr>
            <a:r>
              <a:rPr lang="fr-FR" sz="4800" b="1" dirty="0" smtClean="0">
                <a:latin typeface="Garamond" panose="02020404030301010803" pitchFamily="18" charset="0"/>
              </a:rPr>
              <a:t>DIGITALE</a:t>
            </a:r>
            <a:endParaRPr lang="en-US" sz="4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36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6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356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7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COMMUNICATION DIGITALE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37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847588" y="1628796"/>
            <a:ext cx="5931493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’ensemble des échanges et des informations transmises via tous les supports que proposent l’écosystème numérique (sites web, blogs, réseaux sociaux, application mobile, emailing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..)</a:t>
            </a:r>
          </a:p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endParaRPr lang="fr-FR" sz="105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57505" indent="-285750" algn="just">
              <a:lnSpc>
                <a:spcPct val="200000"/>
              </a:lnSpc>
              <a:buFont typeface="Wingdings" panose="05000000000000000000" pitchFamily="2" charset="2"/>
              <a:buChar char="Ø"/>
              <a:defRPr/>
            </a:pP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munication simple, rapide, efficace, </a:t>
            </a:r>
            <a:r>
              <a:rPr lang="fr-FR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ersonnalisée (</a:t>
            </a:r>
            <a:r>
              <a:rPr lang="fr-FR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exte, photos, vidéos, animation...)</a:t>
            </a:r>
          </a:p>
        </p:txBody>
      </p:sp>
      <p:pic>
        <p:nvPicPr>
          <p:cNvPr id="19" name="Espace réservé du contenu 1"/>
          <p:cNvPicPr>
            <a:picLocks noGrp="1" noChangeAspect="1"/>
          </p:cNvPicPr>
          <p:nvPr>
            <p:ph sz="half" idx="4294967295"/>
          </p:nvPr>
        </p:nvPicPr>
        <p:blipFill>
          <a:blip r:embed="rId3"/>
          <a:stretch>
            <a:fillRect/>
          </a:stretch>
        </p:blipFill>
        <p:spPr>
          <a:xfrm>
            <a:off x="7168375" y="1628796"/>
            <a:ext cx="4532545" cy="3781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457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8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altLang="ko-KR" sz="2800" b="1" dirty="0" smtClean="0">
                <a:solidFill>
                  <a:schemeClr val="bg1"/>
                </a:solidFill>
                <a:ea typeface="Arial Unicode MS"/>
              </a:rPr>
              <a:t>ÉCOSYSTÈME DIGITAL DE LA NARSA</a:t>
            </a:r>
            <a:endParaRPr lang="en-US" sz="2800" b="1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38</a:t>
            </a:fld>
            <a:endParaRPr lang="en-US" dirty="0"/>
          </a:p>
        </p:txBody>
      </p:sp>
      <p:grpSp>
        <p:nvGrpSpPr>
          <p:cNvPr id="3" name="Groupe 2"/>
          <p:cNvGrpSpPr/>
          <p:nvPr/>
        </p:nvGrpSpPr>
        <p:grpSpPr>
          <a:xfrm>
            <a:off x="2235278" y="1983915"/>
            <a:ext cx="8790685" cy="4398692"/>
            <a:chOff x="1723553" y="1892829"/>
            <a:chExt cx="9172980" cy="4193557"/>
          </a:xfrm>
        </p:grpSpPr>
        <p:grpSp>
          <p:nvGrpSpPr>
            <p:cNvPr id="20" name="Group 2">
              <a:extLst>
                <a:ext uri="{FF2B5EF4-FFF2-40B4-BE49-F238E27FC236}">
                  <a16:creationId xmlns:a16="http://schemas.microsoft.com/office/drawing/2014/main" id="{B0ABC274-ADAF-406C-BB69-B15BC648E5D4}"/>
                </a:ext>
              </a:extLst>
            </p:cNvPr>
            <p:cNvGrpSpPr/>
            <p:nvPr/>
          </p:nvGrpSpPr>
          <p:grpSpPr>
            <a:xfrm>
              <a:off x="1723553" y="1892829"/>
              <a:ext cx="762851" cy="762851"/>
              <a:chOff x="5833678" y="585323"/>
              <a:chExt cx="790407" cy="790407"/>
            </a:xfrm>
            <a:solidFill>
              <a:srgbClr val="FED000"/>
            </a:solidFill>
          </p:grpSpPr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F3FB360C-CD27-46DC-B046-FF080D2B10BD}"/>
                  </a:ext>
                </a:extLst>
              </p:cNvPr>
              <p:cNvSpPr/>
              <p:nvPr/>
            </p:nvSpPr>
            <p:spPr>
              <a:xfrm>
                <a:off x="5833678" y="585323"/>
                <a:ext cx="790407" cy="790407"/>
              </a:xfrm>
              <a:prstGeom prst="arc">
                <a:avLst>
                  <a:gd name="adj1" fmla="val 5614108"/>
                  <a:gd name="adj2" fmla="val 16174202"/>
                </a:avLst>
              </a:prstGeom>
              <a:grpFill/>
              <a:ln w="25400" cap="flat" cmpd="sng" algn="ctr">
                <a:solidFill>
                  <a:sysClr val="window" lastClr="FFFFFF"/>
                </a:solidFill>
                <a:prstDash val="solid"/>
                <a:miter lim="800000"/>
                <a:headEnd type="oval"/>
                <a:tailEnd w="lg" len="lg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23" name="Oval 4">
                <a:extLst>
                  <a:ext uri="{FF2B5EF4-FFF2-40B4-BE49-F238E27FC236}">
                    <a16:creationId xmlns:a16="http://schemas.microsoft.com/office/drawing/2014/main" id="{5BCC3483-4C4C-4689-9466-E3AD832DDFE9}"/>
                  </a:ext>
                </a:extLst>
              </p:cNvPr>
              <p:cNvSpPr/>
              <p:nvPr/>
            </p:nvSpPr>
            <p:spPr>
              <a:xfrm>
                <a:off x="5907909" y="658049"/>
                <a:ext cx="644956" cy="64495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</p:grpSp>
        <p:grpSp>
          <p:nvGrpSpPr>
            <p:cNvPr id="24" name="Group 5">
              <a:extLst>
                <a:ext uri="{FF2B5EF4-FFF2-40B4-BE49-F238E27FC236}">
                  <a16:creationId xmlns:a16="http://schemas.microsoft.com/office/drawing/2014/main" id="{9423C8BB-5BC1-496D-84BE-6279083F1B98}"/>
                </a:ext>
              </a:extLst>
            </p:cNvPr>
            <p:cNvGrpSpPr/>
            <p:nvPr/>
          </p:nvGrpSpPr>
          <p:grpSpPr>
            <a:xfrm>
              <a:off x="1723553" y="2750505"/>
              <a:ext cx="762851" cy="762851"/>
              <a:chOff x="5833678" y="585323"/>
              <a:chExt cx="790407" cy="790407"/>
            </a:xfrm>
            <a:solidFill>
              <a:srgbClr val="4159A4"/>
            </a:solidFill>
          </p:grpSpPr>
          <p:sp>
            <p:nvSpPr>
              <p:cNvPr id="25" name="Arc 3">
                <a:extLst>
                  <a:ext uri="{FF2B5EF4-FFF2-40B4-BE49-F238E27FC236}">
                    <a16:creationId xmlns:a16="http://schemas.microsoft.com/office/drawing/2014/main" id="{D1CB2508-FB50-4274-8313-86FA44B20B83}"/>
                  </a:ext>
                </a:extLst>
              </p:cNvPr>
              <p:cNvSpPr/>
              <p:nvPr/>
            </p:nvSpPr>
            <p:spPr>
              <a:xfrm>
                <a:off x="5833678" y="585323"/>
                <a:ext cx="790407" cy="790407"/>
              </a:xfrm>
              <a:prstGeom prst="arc">
                <a:avLst>
                  <a:gd name="adj1" fmla="val 5614108"/>
                  <a:gd name="adj2" fmla="val 16174202"/>
                </a:avLst>
              </a:prstGeom>
              <a:grpFill/>
              <a:ln w="25400" cap="flat" cmpd="sng" algn="ctr">
                <a:solidFill>
                  <a:sysClr val="window" lastClr="FFFFFF"/>
                </a:solidFill>
                <a:prstDash val="solid"/>
                <a:miter lim="800000"/>
                <a:headEnd type="oval"/>
                <a:tailEnd w="lg" len="lg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26" name="Oval 7">
                <a:extLst>
                  <a:ext uri="{FF2B5EF4-FFF2-40B4-BE49-F238E27FC236}">
                    <a16:creationId xmlns:a16="http://schemas.microsoft.com/office/drawing/2014/main" id="{7FF17252-4F2A-4633-B8CE-C7F105F2347F}"/>
                  </a:ext>
                </a:extLst>
              </p:cNvPr>
              <p:cNvSpPr/>
              <p:nvPr/>
            </p:nvSpPr>
            <p:spPr>
              <a:xfrm>
                <a:off x="5907909" y="658049"/>
                <a:ext cx="644956" cy="64495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</p:grpSp>
        <p:grpSp>
          <p:nvGrpSpPr>
            <p:cNvPr id="27" name="Group 8">
              <a:extLst>
                <a:ext uri="{FF2B5EF4-FFF2-40B4-BE49-F238E27FC236}">
                  <a16:creationId xmlns:a16="http://schemas.microsoft.com/office/drawing/2014/main" id="{8D663BD3-5248-417F-82E2-B907198E7F34}"/>
                </a:ext>
              </a:extLst>
            </p:cNvPr>
            <p:cNvGrpSpPr/>
            <p:nvPr/>
          </p:nvGrpSpPr>
          <p:grpSpPr>
            <a:xfrm>
              <a:off x="1723553" y="3608181"/>
              <a:ext cx="762851" cy="762851"/>
              <a:chOff x="5833678" y="585323"/>
              <a:chExt cx="790407" cy="790407"/>
            </a:xfrm>
            <a:solidFill>
              <a:srgbClr val="FED000"/>
            </a:solidFill>
          </p:grpSpPr>
          <p:sp>
            <p:nvSpPr>
              <p:cNvPr id="28" name="Arc 3">
                <a:extLst>
                  <a:ext uri="{FF2B5EF4-FFF2-40B4-BE49-F238E27FC236}">
                    <a16:creationId xmlns:a16="http://schemas.microsoft.com/office/drawing/2014/main" id="{B50606DC-3D3B-4174-BCD4-2041B97AF92B}"/>
                  </a:ext>
                </a:extLst>
              </p:cNvPr>
              <p:cNvSpPr/>
              <p:nvPr/>
            </p:nvSpPr>
            <p:spPr>
              <a:xfrm>
                <a:off x="5833678" y="585323"/>
                <a:ext cx="790407" cy="790407"/>
              </a:xfrm>
              <a:prstGeom prst="arc">
                <a:avLst>
                  <a:gd name="adj1" fmla="val 5614108"/>
                  <a:gd name="adj2" fmla="val 16174202"/>
                </a:avLst>
              </a:prstGeom>
              <a:grpFill/>
              <a:ln w="25400" cap="flat" cmpd="sng" algn="ctr">
                <a:solidFill>
                  <a:sysClr val="window" lastClr="FFFFFF"/>
                </a:solidFill>
                <a:prstDash val="solid"/>
                <a:miter lim="800000"/>
                <a:headEnd type="oval"/>
                <a:tailEnd w="lg" len="lg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29" name="Oval 10">
                <a:extLst>
                  <a:ext uri="{FF2B5EF4-FFF2-40B4-BE49-F238E27FC236}">
                    <a16:creationId xmlns:a16="http://schemas.microsoft.com/office/drawing/2014/main" id="{B4F00850-62E5-4CC7-8278-8F8BED2889B9}"/>
                  </a:ext>
                </a:extLst>
              </p:cNvPr>
              <p:cNvSpPr/>
              <p:nvPr/>
            </p:nvSpPr>
            <p:spPr>
              <a:xfrm>
                <a:off x="5907909" y="658049"/>
                <a:ext cx="644956" cy="64495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</p:grpSp>
        <p:grpSp>
          <p:nvGrpSpPr>
            <p:cNvPr id="36" name="Group 11">
              <a:extLst>
                <a:ext uri="{FF2B5EF4-FFF2-40B4-BE49-F238E27FC236}">
                  <a16:creationId xmlns:a16="http://schemas.microsoft.com/office/drawing/2014/main" id="{4585E9E7-EA0E-4FE4-9310-6E55F6563891}"/>
                </a:ext>
              </a:extLst>
            </p:cNvPr>
            <p:cNvGrpSpPr/>
            <p:nvPr/>
          </p:nvGrpSpPr>
          <p:grpSpPr>
            <a:xfrm>
              <a:off x="1723553" y="4465859"/>
              <a:ext cx="762851" cy="762851"/>
              <a:chOff x="5833678" y="585323"/>
              <a:chExt cx="790407" cy="790407"/>
            </a:xfrm>
            <a:solidFill>
              <a:srgbClr val="4159A4"/>
            </a:solidFill>
          </p:grpSpPr>
          <p:sp>
            <p:nvSpPr>
              <p:cNvPr id="37" name="Arc 3">
                <a:extLst>
                  <a:ext uri="{FF2B5EF4-FFF2-40B4-BE49-F238E27FC236}">
                    <a16:creationId xmlns:a16="http://schemas.microsoft.com/office/drawing/2014/main" id="{3CC51076-274F-4AB0-8B3C-65F209123448}"/>
                  </a:ext>
                </a:extLst>
              </p:cNvPr>
              <p:cNvSpPr/>
              <p:nvPr/>
            </p:nvSpPr>
            <p:spPr>
              <a:xfrm>
                <a:off x="5833678" y="585323"/>
                <a:ext cx="790407" cy="790407"/>
              </a:xfrm>
              <a:prstGeom prst="arc">
                <a:avLst>
                  <a:gd name="adj1" fmla="val 5614108"/>
                  <a:gd name="adj2" fmla="val 16174202"/>
                </a:avLst>
              </a:prstGeom>
              <a:grpFill/>
              <a:ln w="25400" cap="flat" cmpd="sng" algn="ctr">
                <a:solidFill>
                  <a:sysClr val="window" lastClr="FFFFFF"/>
                </a:solidFill>
                <a:prstDash val="solid"/>
                <a:miter lim="800000"/>
                <a:headEnd type="oval"/>
                <a:tailEnd w="lg" len="lg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39" name="Oval 13">
                <a:extLst>
                  <a:ext uri="{FF2B5EF4-FFF2-40B4-BE49-F238E27FC236}">
                    <a16:creationId xmlns:a16="http://schemas.microsoft.com/office/drawing/2014/main" id="{3D85D04D-1424-4BCE-BBD4-78F6ABF4985E}"/>
                  </a:ext>
                </a:extLst>
              </p:cNvPr>
              <p:cNvSpPr/>
              <p:nvPr/>
            </p:nvSpPr>
            <p:spPr>
              <a:xfrm>
                <a:off x="5907909" y="658049"/>
                <a:ext cx="644956" cy="64495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</p:grpSp>
        <p:grpSp>
          <p:nvGrpSpPr>
            <p:cNvPr id="40" name="Group 14">
              <a:extLst>
                <a:ext uri="{FF2B5EF4-FFF2-40B4-BE49-F238E27FC236}">
                  <a16:creationId xmlns:a16="http://schemas.microsoft.com/office/drawing/2014/main" id="{6AA605D4-316D-4548-BCFA-77E51AF4DD94}"/>
                </a:ext>
              </a:extLst>
            </p:cNvPr>
            <p:cNvGrpSpPr/>
            <p:nvPr/>
          </p:nvGrpSpPr>
          <p:grpSpPr>
            <a:xfrm>
              <a:off x="1723553" y="5323535"/>
              <a:ext cx="762851" cy="762851"/>
              <a:chOff x="5833678" y="585323"/>
              <a:chExt cx="790407" cy="790407"/>
            </a:xfrm>
            <a:solidFill>
              <a:srgbClr val="FED000"/>
            </a:solidFill>
          </p:grpSpPr>
          <p:sp>
            <p:nvSpPr>
              <p:cNvPr id="41" name="Arc 3">
                <a:extLst>
                  <a:ext uri="{FF2B5EF4-FFF2-40B4-BE49-F238E27FC236}">
                    <a16:creationId xmlns:a16="http://schemas.microsoft.com/office/drawing/2014/main" id="{B2B70A10-7C75-42D5-A6D4-4BCF4FD29DC7}"/>
                  </a:ext>
                </a:extLst>
              </p:cNvPr>
              <p:cNvSpPr/>
              <p:nvPr/>
            </p:nvSpPr>
            <p:spPr>
              <a:xfrm>
                <a:off x="5833678" y="585323"/>
                <a:ext cx="790407" cy="790407"/>
              </a:xfrm>
              <a:prstGeom prst="arc">
                <a:avLst>
                  <a:gd name="adj1" fmla="val 5614108"/>
                  <a:gd name="adj2" fmla="val 16174202"/>
                </a:avLst>
              </a:prstGeom>
              <a:grpFill/>
              <a:ln w="25400" cap="flat" cmpd="sng" algn="ctr">
                <a:solidFill>
                  <a:sysClr val="window" lastClr="FFFFFF"/>
                </a:solidFill>
                <a:prstDash val="solid"/>
                <a:miter lim="800000"/>
                <a:headEnd type="oval"/>
                <a:tailEnd w="lg" len="lg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42" name="Oval 16">
                <a:extLst>
                  <a:ext uri="{FF2B5EF4-FFF2-40B4-BE49-F238E27FC236}">
                    <a16:creationId xmlns:a16="http://schemas.microsoft.com/office/drawing/2014/main" id="{759B35C5-0DD7-4EE7-B455-29D05668D838}"/>
                  </a:ext>
                </a:extLst>
              </p:cNvPr>
              <p:cNvSpPr/>
              <p:nvPr/>
            </p:nvSpPr>
            <p:spPr>
              <a:xfrm>
                <a:off x="5907909" y="658049"/>
                <a:ext cx="644956" cy="644955"/>
              </a:xfrm>
              <a:prstGeom prst="ellipse">
                <a:avLst/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en-US" sz="2400" kern="0">
                  <a:solidFill>
                    <a:prstClr val="black"/>
                  </a:solidFill>
                  <a:latin typeface="Arial"/>
                  <a:ea typeface="Arial Unicode MS"/>
                </a:endParaRPr>
              </a:p>
            </p:txBody>
          </p:sp>
        </p:grpSp>
        <p:grpSp>
          <p:nvGrpSpPr>
            <p:cNvPr id="43" name="Group 17">
              <a:extLst>
                <a:ext uri="{FF2B5EF4-FFF2-40B4-BE49-F238E27FC236}">
                  <a16:creationId xmlns:a16="http://schemas.microsoft.com/office/drawing/2014/main" id="{494DF14A-BAB1-40DA-81BD-87155A24CD7A}"/>
                </a:ext>
              </a:extLst>
            </p:cNvPr>
            <p:cNvGrpSpPr/>
            <p:nvPr/>
          </p:nvGrpSpPr>
          <p:grpSpPr>
            <a:xfrm>
              <a:off x="8227192" y="3092920"/>
              <a:ext cx="2232000" cy="1260000"/>
              <a:chOff x="5680238" y="2623616"/>
              <a:chExt cx="2068326" cy="1201798"/>
            </a:xfrm>
            <a:solidFill>
              <a:srgbClr val="4159A4"/>
            </a:solidFill>
          </p:grpSpPr>
          <p:sp>
            <p:nvSpPr>
              <p:cNvPr id="44" name="Right Arrow 7">
                <a:extLst>
                  <a:ext uri="{FF2B5EF4-FFF2-40B4-BE49-F238E27FC236}">
                    <a16:creationId xmlns:a16="http://schemas.microsoft.com/office/drawing/2014/main" id="{BAD5FC3E-A6CB-4B4B-B727-5F913A45D1F9}"/>
                  </a:ext>
                </a:extLst>
              </p:cNvPr>
              <p:cNvSpPr/>
              <p:nvPr/>
            </p:nvSpPr>
            <p:spPr>
              <a:xfrm rot="16200000">
                <a:off x="6357325" y="2797138"/>
                <a:ext cx="687659" cy="340616"/>
              </a:xfrm>
              <a:prstGeom prst="rightArrow">
                <a:avLst/>
              </a:prstGeom>
              <a:grpFill/>
              <a:ln w="508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ko-KR" altLang="en-US" sz="2701" ker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45" name="Right Arrow 16">
                <a:extLst>
                  <a:ext uri="{FF2B5EF4-FFF2-40B4-BE49-F238E27FC236}">
                    <a16:creationId xmlns:a16="http://schemas.microsoft.com/office/drawing/2014/main" id="{B0E4A91E-80D4-4266-A88E-5D0058D78D7F}"/>
                  </a:ext>
                </a:extLst>
              </p:cNvPr>
              <p:cNvSpPr/>
              <p:nvPr/>
            </p:nvSpPr>
            <p:spPr>
              <a:xfrm rot="18900000">
                <a:off x="6873273" y="2992605"/>
                <a:ext cx="687659" cy="340616"/>
              </a:xfrm>
              <a:prstGeom prst="rightArrow">
                <a:avLst/>
              </a:prstGeom>
              <a:grpFill/>
              <a:ln w="508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ko-KR" altLang="en-US" sz="2701" ker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46" name="Right Arrow 17">
                <a:extLst>
                  <a:ext uri="{FF2B5EF4-FFF2-40B4-BE49-F238E27FC236}">
                    <a16:creationId xmlns:a16="http://schemas.microsoft.com/office/drawing/2014/main" id="{BBDCA778-EA2C-4A54-A4A8-B3FDAA18882D}"/>
                  </a:ext>
                </a:extLst>
              </p:cNvPr>
              <p:cNvSpPr/>
              <p:nvPr/>
            </p:nvSpPr>
            <p:spPr>
              <a:xfrm>
                <a:off x="7060905" y="3484798"/>
                <a:ext cx="687659" cy="340616"/>
              </a:xfrm>
              <a:prstGeom prst="rightArrow">
                <a:avLst/>
              </a:prstGeom>
              <a:grpFill/>
              <a:ln w="508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ko-KR" altLang="en-US" sz="2701" ker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47" name="Right Arrow 18">
                <a:extLst>
                  <a:ext uri="{FF2B5EF4-FFF2-40B4-BE49-F238E27FC236}">
                    <a16:creationId xmlns:a16="http://schemas.microsoft.com/office/drawing/2014/main" id="{A7156E5D-6767-4EEF-A624-244540A728C2}"/>
                  </a:ext>
                </a:extLst>
              </p:cNvPr>
              <p:cNvSpPr/>
              <p:nvPr/>
            </p:nvSpPr>
            <p:spPr>
              <a:xfrm rot="2700000" flipH="1">
                <a:off x="5838096" y="2992605"/>
                <a:ext cx="687659" cy="340616"/>
              </a:xfrm>
              <a:prstGeom prst="rightArrow">
                <a:avLst/>
              </a:prstGeom>
              <a:grpFill/>
              <a:ln w="508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ko-KR" altLang="en-US" sz="2701" kern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48" name="Right Arrow 19">
                <a:extLst>
                  <a:ext uri="{FF2B5EF4-FFF2-40B4-BE49-F238E27FC236}">
                    <a16:creationId xmlns:a16="http://schemas.microsoft.com/office/drawing/2014/main" id="{88E727CD-3B4E-4C12-A9B9-B9EDBAE9ABEE}"/>
                  </a:ext>
                </a:extLst>
              </p:cNvPr>
              <p:cNvSpPr/>
              <p:nvPr/>
            </p:nvSpPr>
            <p:spPr>
              <a:xfrm flipH="1">
                <a:off x="5680238" y="3484798"/>
                <a:ext cx="687659" cy="340616"/>
              </a:xfrm>
              <a:prstGeom prst="rightArrow">
                <a:avLst/>
              </a:prstGeom>
              <a:grpFill/>
              <a:ln w="508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14377">
                  <a:defRPr/>
                </a:pPr>
                <a:endParaRPr lang="ko-KR" altLang="en-US" sz="2701" kern="0" dirty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</p:grpSp>
        <p:sp>
          <p:nvSpPr>
            <p:cNvPr id="49" name="Donut 6">
              <a:extLst>
                <a:ext uri="{FF2B5EF4-FFF2-40B4-BE49-F238E27FC236}">
                  <a16:creationId xmlns:a16="http://schemas.microsoft.com/office/drawing/2014/main" id="{3D943C19-FF2D-461C-B851-AC07208DD54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122919" y="2670924"/>
              <a:ext cx="360000" cy="360000"/>
            </a:xfrm>
            <a:custGeom>
              <a:avLst/>
              <a:gdLst/>
              <a:ahLst/>
              <a:cxnLst/>
              <a:rect l="l" t="t" r="r" b="b"/>
              <a:pathLst>
                <a:path w="3960000" h="3960000">
                  <a:moveTo>
                    <a:pt x="1980000" y="1260000"/>
                  </a:moveTo>
                  <a:cubicBezTo>
                    <a:pt x="2377645" y="1260000"/>
                    <a:pt x="2700000" y="1582355"/>
                    <a:pt x="2700000" y="1980000"/>
                  </a:cubicBezTo>
                  <a:cubicBezTo>
                    <a:pt x="2700000" y="2377645"/>
                    <a:pt x="2377645" y="2700000"/>
                    <a:pt x="1980000" y="2700000"/>
                  </a:cubicBezTo>
                  <a:cubicBezTo>
                    <a:pt x="1582355" y="2700000"/>
                    <a:pt x="1260000" y="2377645"/>
                    <a:pt x="1260000" y="1980000"/>
                  </a:cubicBezTo>
                  <a:cubicBezTo>
                    <a:pt x="1260000" y="1582355"/>
                    <a:pt x="1582355" y="1260000"/>
                    <a:pt x="1980000" y="1260000"/>
                  </a:cubicBezTo>
                  <a:close/>
                  <a:moveTo>
                    <a:pt x="2490424" y="1258488"/>
                  </a:moveTo>
                  <a:lnTo>
                    <a:pt x="3822407" y="1258488"/>
                  </a:lnTo>
                  <a:cubicBezTo>
                    <a:pt x="3911854" y="1481555"/>
                    <a:pt x="3960000" y="1725155"/>
                    <a:pt x="3960000" y="1980000"/>
                  </a:cubicBezTo>
                  <a:cubicBezTo>
                    <a:pt x="3960000" y="3073524"/>
                    <a:pt x="3073524" y="3960000"/>
                    <a:pt x="1980000" y="3960000"/>
                  </a:cubicBezTo>
                  <a:lnTo>
                    <a:pt x="1852759" y="3953575"/>
                  </a:lnTo>
                  <a:lnTo>
                    <a:pt x="2729076" y="2455486"/>
                  </a:lnTo>
                  <a:lnTo>
                    <a:pt x="2726868" y="2454194"/>
                  </a:lnTo>
                  <a:cubicBezTo>
                    <a:pt x="2814857" y="2317465"/>
                    <a:pt x="2865416" y="2154637"/>
                    <a:pt x="2865416" y="1980000"/>
                  </a:cubicBezTo>
                  <a:cubicBezTo>
                    <a:pt x="2865416" y="1681504"/>
                    <a:pt x="2717708" y="1417508"/>
                    <a:pt x="2490424" y="1258488"/>
                  </a:cubicBezTo>
                  <a:close/>
                  <a:moveTo>
                    <a:pt x="334727" y="878603"/>
                  </a:moveTo>
                  <a:lnTo>
                    <a:pt x="1154753" y="2298930"/>
                  </a:lnTo>
                  <a:cubicBezTo>
                    <a:pt x="1281989" y="2630497"/>
                    <a:pt x="1603560" y="2865416"/>
                    <a:pt x="1980000" y="2865416"/>
                  </a:cubicBezTo>
                  <a:cubicBezTo>
                    <a:pt x="2123408" y="2865416"/>
                    <a:pt x="2258854" y="2831322"/>
                    <a:pt x="2378271" y="2770003"/>
                  </a:cubicBezTo>
                  <a:lnTo>
                    <a:pt x="1695481" y="3937251"/>
                  </a:lnTo>
                  <a:cubicBezTo>
                    <a:pt x="736579" y="3801546"/>
                    <a:pt x="0" y="2976792"/>
                    <a:pt x="0" y="1980000"/>
                  </a:cubicBezTo>
                  <a:cubicBezTo>
                    <a:pt x="0" y="1572291"/>
                    <a:pt x="123228" y="1193364"/>
                    <a:pt x="334727" y="878603"/>
                  </a:cubicBezTo>
                  <a:close/>
                  <a:moveTo>
                    <a:pt x="1980000" y="0"/>
                  </a:moveTo>
                  <a:cubicBezTo>
                    <a:pt x="2762762" y="0"/>
                    <a:pt x="3439434" y="454224"/>
                    <a:pt x="3758731" y="1114488"/>
                  </a:cubicBezTo>
                  <a:lnTo>
                    <a:pt x="2165892" y="1114488"/>
                  </a:lnTo>
                  <a:cubicBezTo>
                    <a:pt x="2106002" y="1101330"/>
                    <a:pt x="2043789" y="1094584"/>
                    <a:pt x="1980000" y="1094584"/>
                  </a:cubicBezTo>
                  <a:cubicBezTo>
                    <a:pt x="1916211" y="1094584"/>
                    <a:pt x="1853998" y="1101330"/>
                    <a:pt x="1794108" y="1114488"/>
                  </a:cubicBezTo>
                  <a:lnTo>
                    <a:pt x="1774506" y="1114488"/>
                  </a:lnTo>
                  <a:lnTo>
                    <a:pt x="1774506" y="1119528"/>
                  </a:lnTo>
                  <a:cubicBezTo>
                    <a:pt x="1405645" y="1206316"/>
                    <a:pt x="1126346" y="1524537"/>
                    <a:pt x="1097987" y="1912608"/>
                  </a:cubicBezTo>
                  <a:lnTo>
                    <a:pt x="428214" y="752526"/>
                  </a:lnTo>
                  <a:cubicBezTo>
                    <a:pt x="789694" y="293724"/>
                    <a:pt x="1350545" y="0"/>
                    <a:pt x="1980000" y="0"/>
                  </a:cubicBezTo>
                  <a:close/>
                </a:path>
              </a:pathLst>
            </a:custGeom>
            <a:solidFill>
              <a:srgbClr val="FED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50" name="Freeform 26">
              <a:extLst>
                <a:ext uri="{FF2B5EF4-FFF2-40B4-BE49-F238E27FC236}">
                  <a16:creationId xmlns:a16="http://schemas.microsoft.com/office/drawing/2014/main" id="{DA488FA1-EFDE-42E1-BDA7-237774984ED6}"/>
                </a:ext>
              </a:extLst>
            </p:cNvPr>
            <p:cNvSpPr>
              <a:spLocks noChangeAspect="1"/>
            </p:cNvSpPr>
            <p:nvPr/>
          </p:nvSpPr>
          <p:spPr>
            <a:xfrm rot="8580000">
              <a:off x="7739383" y="3967391"/>
              <a:ext cx="360963" cy="360000"/>
            </a:xfrm>
            <a:custGeom>
              <a:avLst/>
              <a:gdLst/>
              <a:ahLst/>
              <a:cxnLst/>
              <a:rect l="l" t="t" r="r" b="b"/>
              <a:pathLst>
                <a:path w="3872365" h="3862045">
                  <a:moveTo>
                    <a:pt x="1786489" y="808318"/>
                  </a:moveTo>
                  <a:cubicBezTo>
                    <a:pt x="1525809" y="610106"/>
                    <a:pt x="1257124" y="397966"/>
                    <a:pt x="1040385" y="230829"/>
                  </a:cubicBezTo>
                  <a:cubicBezTo>
                    <a:pt x="1905215" y="-194386"/>
                    <a:pt x="2650439" y="24572"/>
                    <a:pt x="3162062" y="429660"/>
                  </a:cubicBezTo>
                  <a:cubicBezTo>
                    <a:pt x="3007351" y="875340"/>
                    <a:pt x="2905932" y="1443216"/>
                    <a:pt x="2745609" y="1410478"/>
                  </a:cubicBezTo>
                  <a:cubicBezTo>
                    <a:pt x="2633182" y="1430335"/>
                    <a:pt x="2220955" y="1138671"/>
                    <a:pt x="1786489" y="808318"/>
                  </a:cubicBezTo>
                  <a:close/>
                  <a:moveTo>
                    <a:pt x="2701004" y="2590217"/>
                  </a:moveTo>
                  <a:cubicBezTo>
                    <a:pt x="2682933" y="2576481"/>
                    <a:pt x="2672282" y="2559744"/>
                    <a:pt x="2670336" y="2539383"/>
                  </a:cubicBezTo>
                  <a:cubicBezTo>
                    <a:pt x="2587360" y="2376647"/>
                    <a:pt x="3042640" y="1246798"/>
                    <a:pt x="3299881" y="563773"/>
                  </a:cubicBezTo>
                  <a:cubicBezTo>
                    <a:pt x="3959368" y="1266493"/>
                    <a:pt x="3967860" y="2043171"/>
                    <a:pt x="3730056" y="2650875"/>
                  </a:cubicBezTo>
                  <a:cubicBezTo>
                    <a:pt x="3317547" y="2635434"/>
                    <a:pt x="2827499" y="2686366"/>
                    <a:pt x="2701004" y="2590217"/>
                  </a:cubicBezTo>
                  <a:close/>
                  <a:moveTo>
                    <a:pt x="19691" y="2248546"/>
                  </a:moveTo>
                  <a:cubicBezTo>
                    <a:pt x="-100797" y="1292396"/>
                    <a:pt x="348853" y="659059"/>
                    <a:pt x="898439" y="307194"/>
                  </a:cubicBezTo>
                  <a:cubicBezTo>
                    <a:pt x="1269469" y="598575"/>
                    <a:pt x="1773388" y="879352"/>
                    <a:pt x="1690237" y="1020281"/>
                  </a:cubicBezTo>
                  <a:cubicBezTo>
                    <a:pt x="1661713" y="1200709"/>
                    <a:pt x="629275" y="1847170"/>
                    <a:pt x="19691" y="2248546"/>
                  </a:cubicBezTo>
                  <a:close/>
                  <a:moveTo>
                    <a:pt x="1805382" y="3858278"/>
                  </a:moveTo>
                  <a:cubicBezTo>
                    <a:pt x="1676483" y="3404460"/>
                    <a:pt x="1433840" y="2881111"/>
                    <a:pt x="1583946" y="2815971"/>
                  </a:cubicBezTo>
                  <a:cubicBezTo>
                    <a:pt x="1713076" y="2686769"/>
                    <a:pt x="2928316" y="2770622"/>
                    <a:pt x="3657403" y="2804207"/>
                  </a:cubicBezTo>
                  <a:cubicBezTo>
                    <a:pt x="3192869" y="3648569"/>
                    <a:pt x="2456828" y="3896652"/>
                    <a:pt x="1805382" y="3858278"/>
                  </a:cubicBezTo>
                  <a:close/>
                  <a:moveTo>
                    <a:pt x="762284" y="3480575"/>
                  </a:moveTo>
                  <a:cubicBezTo>
                    <a:pt x="380940" y="3198297"/>
                    <a:pt x="161300" y="2806810"/>
                    <a:pt x="58293" y="2412172"/>
                  </a:cubicBezTo>
                  <a:cubicBezTo>
                    <a:pt x="450067" y="2149344"/>
                    <a:pt x="872820" y="1756853"/>
                    <a:pt x="981158" y="1879484"/>
                  </a:cubicBezTo>
                  <a:cubicBezTo>
                    <a:pt x="1143940" y="1962367"/>
                    <a:pt x="1439720" y="3144041"/>
                    <a:pt x="1633080" y="3847823"/>
                  </a:cubicBezTo>
                  <a:cubicBezTo>
                    <a:pt x="1278110" y="3779994"/>
                    <a:pt x="991090" y="3649942"/>
                    <a:pt x="762284" y="3480575"/>
                  </a:cubicBezTo>
                  <a:close/>
                </a:path>
              </a:pathLst>
            </a:custGeom>
            <a:solidFill>
              <a:srgbClr val="FED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51" name="Rectangle 1">
              <a:extLst>
                <a:ext uri="{FF2B5EF4-FFF2-40B4-BE49-F238E27FC236}">
                  <a16:creationId xmlns:a16="http://schemas.microsoft.com/office/drawing/2014/main" id="{97932232-994E-4C93-8A9C-307BB903CF6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248503" y="3030964"/>
              <a:ext cx="360691" cy="360000"/>
            </a:xfrm>
            <a:custGeom>
              <a:avLst/>
              <a:gdLst/>
              <a:ahLst/>
              <a:cxnLst/>
              <a:rect l="l" t="t" r="r" b="b"/>
              <a:pathLst>
                <a:path w="4020621" h="4012920">
                  <a:moveTo>
                    <a:pt x="780213" y="3724888"/>
                  </a:moveTo>
                  <a:lnTo>
                    <a:pt x="2868445" y="3724888"/>
                  </a:lnTo>
                  <a:lnTo>
                    <a:pt x="2868445" y="4012920"/>
                  </a:lnTo>
                  <a:lnTo>
                    <a:pt x="780213" y="4012920"/>
                  </a:lnTo>
                  <a:close/>
                  <a:moveTo>
                    <a:pt x="4020621" y="2152587"/>
                  </a:moveTo>
                  <a:lnTo>
                    <a:pt x="4020621" y="3448731"/>
                  </a:lnTo>
                  <a:lnTo>
                    <a:pt x="3903908" y="3386593"/>
                  </a:lnTo>
                  <a:lnTo>
                    <a:pt x="3903908" y="2214725"/>
                  </a:lnTo>
                  <a:close/>
                  <a:moveTo>
                    <a:pt x="1582587" y="1544569"/>
                  </a:moveTo>
                  <a:cubicBezTo>
                    <a:pt x="1525677" y="1652847"/>
                    <a:pt x="1434945" y="1739939"/>
                    <a:pt x="1324158" y="1792547"/>
                  </a:cubicBezTo>
                  <a:lnTo>
                    <a:pt x="1790243" y="1792547"/>
                  </a:lnTo>
                  <a:cubicBezTo>
                    <a:pt x="1708293" y="1721838"/>
                    <a:pt x="1638004" y="1638154"/>
                    <a:pt x="1582587" y="1544569"/>
                  </a:cubicBezTo>
                  <a:close/>
                  <a:moveTo>
                    <a:pt x="1238323" y="1312673"/>
                  </a:moveTo>
                  <a:cubicBezTo>
                    <a:pt x="1173622" y="1312673"/>
                    <a:pt x="1121172" y="1365123"/>
                    <a:pt x="1121172" y="1429824"/>
                  </a:cubicBezTo>
                  <a:cubicBezTo>
                    <a:pt x="1121172" y="1494525"/>
                    <a:pt x="1173622" y="1546975"/>
                    <a:pt x="1238323" y="1546975"/>
                  </a:cubicBezTo>
                  <a:cubicBezTo>
                    <a:pt x="1303024" y="1546975"/>
                    <a:pt x="1355474" y="1494525"/>
                    <a:pt x="1355474" y="1429824"/>
                  </a:cubicBezTo>
                  <a:cubicBezTo>
                    <a:pt x="1355474" y="1365123"/>
                    <a:pt x="1303024" y="1312673"/>
                    <a:pt x="1238323" y="1312673"/>
                  </a:cubicBezTo>
                  <a:close/>
                  <a:moveTo>
                    <a:pt x="870057" y="1312673"/>
                  </a:moveTo>
                  <a:cubicBezTo>
                    <a:pt x="805356" y="1312673"/>
                    <a:pt x="752906" y="1365123"/>
                    <a:pt x="752906" y="1429824"/>
                  </a:cubicBezTo>
                  <a:cubicBezTo>
                    <a:pt x="752906" y="1494525"/>
                    <a:pt x="805356" y="1546975"/>
                    <a:pt x="870057" y="1546975"/>
                  </a:cubicBezTo>
                  <a:cubicBezTo>
                    <a:pt x="934758" y="1546975"/>
                    <a:pt x="987208" y="1494525"/>
                    <a:pt x="987208" y="1429824"/>
                  </a:cubicBezTo>
                  <a:cubicBezTo>
                    <a:pt x="987208" y="1365123"/>
                    <a:pt x="934758" y="1312673"/>
                    <a:pt x="870057" y="1312673"/>
                  </a:cubicBezTo>
                  <a:close/>
                  <a:moveTo>
                    <a:pt x="2775838" y="1127627"/>
                  </a:moveTo>
                  <a:cubicBezTo>
                    <a:pt x="2666578" y="1127627"/>
                    <a:pt x="2578006" y="1216199"/>
                    <a:pt x="2578006" y="1325459"/>
                  </a:cubicBezTo>
                  <a:cubicBezTo>
                    <a:pt x="2578006" y="1434719"/>
                    <a:pt x="2666578" y="1523291"/>
                    <a:pt x="2775838" y="1523291"/>
                  </a:cubicBezTo>
                  <a:cubicBezTo>
                    <a:pt x="2885098" y="1523291"/>
                    <a:pt x="2973670" y="1434719"/>
                    <a:pt x="2973670" y="1325459"/>
                  </a:cubicBezTo>
                  <a:cubicBezTo>
                    <a:pt x="2973670" y="1216199"/>
                    <a:pt x="2885098" y="1127627"/>
                    <a:pt x="2775838" y="1127627"/>
                  </a:cubicBezTo>
                  <a:close/>
                  <a:moveTo>
                    <a:pt x="2153949" y="1127627"/>
                  </a:moveTo>
                  <a:cubicBezTo>
                    <a:pt x="2044689" y="1127627"/>
                    <a:pt x="1956117" y="1216199"/>
                    <a:pt x="1956117" y="1325459"/>
                  </a:cubicBezTo>
                  <a:cubicBezTo>
                    <a:pt x="1956117" y="1434719"/>
                    <a:pt x="2044689" y="1523291"/>
                    <a:pt x="2153949" y="1523291"/>
                  </a:cubicBezTo>
                  <a:cubicBezTo>
                    <a:pt x="2263209" y="1523291"/>
                    <a:pt x="2351781" y="1434719"/>
                    <a:pt x="2351781" y="1325459"/>
                  </a:cubicBezTo>
                  <a:cubicBezTo>
                    <a:pt x="2351781" y="1216199"/>
                    <a:pt x="2263209" y="1127627"/>
                    <a:pt x="2153949" y="1127627"/>
                  </a:cubicBezTo>
                  <a:close/>
                  <a:moveTo>
                    <a:pt x="1238323" y="956510"/>
                  </a:moveTo>
                  <a:cubicBezTo>
                    <a:pt x="1173622" y="956510"/>
                    <a:pt x="1121172" y="1008960"/>
                    <a:pt x="1121172" y="1073661"/>
                  </a:cubicBezTo>
                  <a:cubicBezTo>
                    <a:pt x="1121172" y="1138362"/>
                    <a:pt x="1173622" y="1190812"/>
                    <a:pt x="1238323" y="1190812"/>
                  </a:cubicBezTo>
                  <a:cubicBezTo>
                    <a:pt x="1303024" y="1190812"/>
                    <a:pt x="1355474" y="1138362"/>
                    <a:pt x="1355474" y="1073661"/>
                  </a:cubicBezTo>
                  <a:cubicBezTo>
                    <a:pt x="1355474" y="1008960"/>
                    <a:pt x="1303024" y="956510"/>
                    <a:pt x="1238323" y="956510"/>
                  </a:cubicBezTo>
                  <a:close/>
                  <a:moveTo>
                    <a:pt x="870057" y="956510"/>
                  </a:moveTo>
                  <a:cubicBezTo>
                    <a:pt x="805356" y="956510"/>
                    <a:pt x="752906" y="1008960"/>
                    <a:pt x="752906" y="1073661"/>
                  </a:cubicBezTo>
                  <a:cubicBezTo>
                    <a:pt x="752906" y="1138362"/>
                    <a:pt x="805356" y="1190812"/>
                    <a:pt x="870057" y="1190812"/>
                  </a:cubicBezTo>
                  <a:cubicBezTo>
                    <a:pt x="934758" y="1190812"/>
                    <a:pt x="987208" y="1138362"/>
                    <a:pt x="987208" y="1073661"/>
                  </a:cubicBezTo>
                  <a:cubicBezTo>
                    <a:pt x="987208" y="1008960"/>
                    <a:pt x="934758" y="956510"/>
                    <a:pt x="870057" y="956510"/>
                  </a:cubicBezTo>
                  <a:close/>
                  <a:moveTo>
                    <a:pt x="2775838" y="526176"/>
                  </a:moveTo>
                  <a:cubicBezTo>
                    <a:pt x="2666578" y="526176"/>
                    <a:pt x="2578006" y="614748"/>
                    <a:pt x="2578006" y="724008"/>
                  </a:cubicBezTo>
                  <a:cubicBezTo>
                    <a:pt x="2578006" y="833268"/>
                    <a:pt x="2666578" y="921840"/>
                    <a:pt x="2775838" y="921840"/>
                  </a:cubicBezTo>
                  <a:cubicBezTo>
                    <a:pt x="2885098" y="921840"/>
                    <a:pt x="2973670" y="833268"/>
                    <a:pt x="2973670" y="724008"/>
                  </a:cubicBezTo>
                  <a:cubicBezTo>
                    <a:pt x="2973670" y="614748"/>
                    <a:pt x="2885098" y="526176"/>
                    <a:pt x="2775838" y="526176"/>
                  </a:cubicBezTo>
                  <a:close/>
                  <a:moveTo>
                    <a:pt x="2153949" y="526176"/>
                  </a:moveTo>
                  <a:cubicBezTo>
                    <a:pt x="2044689" y="526176"/>
                    <a:pt x="1956117" y="614748"/>
                    <a:pt x="1956117" y="724008"/>
                  </a:cubicBezTo>
                  <a:cubicBezTo>
                    <a:pt x="1956117" y="833268"/>
                    <a:pt x="2044689" y="921840"/>
                    <a:pt x="2153949" y="921840"/>
                  </a:cubicBezTo>
                  <a:cubicBezTo>
                    <a:pt x="2263209" y="921840"/>
                    <a:pt x="2351781" y="833268"/>
                    <a:pt x="2351781" y="724008"/>
                  </a:cubicBezTo>
                  <a:cubicBezTo>
                    <a:pt x="2351781" y="614748"/>
                    <a:pt x="2263209" y="526176"/>
                    <a:pt x="2153949" y="526176"/>
                  </a:cubicBezTo>
                  <a:close/>
                  <a:moveTo>
                    <a:pt x="2464893" y="0"/>
                  </a:moveTo>
                  <a:cubicBezTo>
                    <a:pt x="3030837" y="0"/>
                    <a:pt x="3489626" y="458789"/>
                    <a:pt x="3489626" y="1024733"/>
                  </a:cubicBezTo>
                  <a:cubicBezTo>
                    <a:pt x="3489626" y="1442455"/>
                    <a:pt x="3239684" y="1801800"/>
                    <a:pt x="2880320" y="1959209"/>
                  </a:cubicBezTo>
                  <a:lnTo>
                    <a:pt x="2880320" y="2008571"/>
                  </a:lnTo>
                  <a:lnTo>
                    <a:pt x="3250857" y="2008571"/>
                  </a:lnTo>
                  <a:lnTo>
                    <a:pt x="3250857" y="2359970"/>
                  </a:lnTo>
                  <a:lnTo>
                    <a:pt x="3437294" y="2359970"/>
                  </a:lnTo>
                  <a:lnTo>
                    <a:pt x="3437294" y="2360694"/>
                  </a:lnTo>
                  <a:lnTo>
                    <a:pt x="3852060" y="2233461"/>
                  </a:lnTo>
                  <a:lnTo>
                    <a:pt x="3852060" y="3367858"/>
                  </a:lnTo>
                  <a:lnTo>
                    <a:pt x="3437294" y="3240624"/>
                  </a:lnTo>
                  <a:lnTo>
                    <a:pt x="3437294" y="3241349"/>
                  </a:lnTo>
                  <a:lnTo>
                    <a:pt x="3250857" y="3241349"/>
                  </a:lnTo>
                  <a:lnTo>
                    <a:pt x="3250857" y="3633063"/>
                  </a:lnTo>
                  <a:lnTo>
                    <a:pt x="298529" y="3633063"/>
                  </a:lnTo>
                  <a:lnTo>
                    <a:pt x="298529" y="2431730"/>
                  </a:lnTo>
                  <a:lnTo>
                    <a:pt x="0" y="2008571"/>
                  </a:lnTo>
                  <a:lnTo>
                    <a:pt x="298529" y="2008571"/>
                  </a:lnTo>
                  <a:lnTo>
                    <a:pt x="792088" y="2008571"/>
                  </a:lnTo>
                  <a:lnTo>
                    <a:pt x="792088" y="1796817"/>
                  </a:lnTo>
                  <a:cubicBezTo>
                    <a:pt x="587745" y="1700755"/>
                    <a:pt x="447370" y="1492642"/>
                    <a:pt x="447370" y="1251742"/>
                  </a:cubicBezTo>
                  <a:cubicBezTo>
                    <a:pt x="447370" y="916605"/>
                    <a:pt x="719053" y="644923"/>
                    <a:pt x="1054190" y="644923"/>
                  </a:cubicBezTo>
                  <a:cubicBezTo>
                    <a:pt x="1212753" y="644923"/>
                    <a:pt x="1357112" y="705740"/>
                    <a:pt x="1463939" y="806702"/>
                  </a:cubicBezTo>
                  <a:cubicBezTo>
                    <a:pt x="1563407" y="345444"/>
                    <a:pt x="1973809" y="0"/>
                    <a:pt x="2464893" y="0"/>
                  </a:cubicBezTo>
                  <a:close/>
                </a:path>
              </a:pathLst>
            </a:custGeom>
            <a:solidFill>
              <a:srgbClr val="FED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53" name="Rounded Rectangle 24">
              <a:extLst>
                <a:ext uri="{FF2B5EF4-FFF2-40B4-BE49-F238E27FC236}">
                  <a16:creationId xmlns:a16="http://schemas.microsoft.com/office/drawing/2014/main" id="{2EAD58E5-F0C8-4DC1-9844-EEAF4928986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536533" y="4046635"/>
              <a:ext cx="360000" cy="278547"/>
            </a:xfrm>
            <a:custGeom>
              <a:avLst/>
              <a:gdLst/>
              <a:ahLst/>
              <a:cxnLst/>
              <a:rect l="l" t="t" r="r" b="b"/>
              <a:pathLst>
                <a:path w="3960000" h="3064028">
                  <a:moveTo>
                    <a:pt x="1955333" y="1285185"/>
                  </a:moveTo>
                  <a:cubicBezTo>
                    <a:pt x="2192176" y="1285185"/>
                    <a:pt x="2384176" y="1477185"/>
                    <a:pt x="2384176" y="1714028"/>
                  </a:cubicBezTo>
                  <a:cubicBezTo>
                    <a:pt x="2384176" y="1950871"/>
                    <a:pt x="2192176" y="2142871"/>
                    <a:pt x="1955333" y="2142871"/>
                  </a:cubicBezTo>
                  <a:cubicBezTo>
                    <a:pt x="1718490" y="2142871"/>
                    <a:pt x="1526490" y="1950871"/>
                    <a:pt x="1526490" y="1714028"/>
                  </a:cubicBezTo>
                  <a:cubicBezTo>
                    <a:pt x="1526490" y="1477185"/>
                    <a:pt x="1718490" y="1285185"/>
                    <a:pt x="1955333" y="1285185"/>
                  </a:cubicBezTo>
                  <a:close/>
                  <a:moveTo>
                    <a:pt x="1955333" y="1074136"/>
                  </a:moveTo>
                  <a:cubicBezTo>
                    <a:pt x="1601930" y="1074136"/>
                    <a:pt x="1315441" y="1360625"/>
                    <a:pt x="1315441" y="1714028"/>
                  </a:cubicBezTo>
                  <a:cubicBezTo>
                    <a:pt x="1315441" y="2067431"/>
                    <a:pt x="1601930" y="2353920"/>
                    <a:pt x="1955333" y="2353920"/>
                  </a:cubicBezTo>
                  <a:cubicBezTo>
                    <a:pt x="2308736" y="2353920"/>
                    <a:pt x="2595225" y="2067431"/>
                    <a:pt x="2595225" y="1714028"/>
                  </a:cubicBezTo>
                  <a:cubicBezTo>
                    <a:pt x="2595225" y="1360625"/>
                    <a:pt x="2308736" y="1074136"/>
                    <a:pt x="1955333" y="1074136"/>
                  </a:cubicBezTo>
                  <a:close/>
                  <a:moveTo>
                    <a:pt x="1955333" y="849503"/>
                  </a:moveTo>
                  <a:cubicBezTo>
                    <a:pt x="2432797" y="849503"/>
                    <a:pt x="2819858" y="1236564"/>
                    <a:pt x="2819858" y="1714028"/>
                  </a:cubicBezTo>
                  <a:cubicBezTo>
                    <a:pt x="2819858" y="2191492"/>
                    <a:pt x="2432797" y="2578553"/>
                    <a:pt x="1955333" y="2578553"/>
                  </a:cubicBezTo>
                  <a:cubicBezTo>
                    <a:pt x="1477869" y="2578553"/>
                    <a:pt x="1090808" y="2191492"/>
                    <a:pt x="1090808" y="1714028"/>
                  </a:cubicBezTo>
                  <a:cubicBezTo>
                    <a:pt x="1090808" y="1236564"/>
                    <a:pt x="1477869" y="849503"/>
                    <a:pt x="1955333" y="849503"/>
                  </a:cubicBezTo>
                  <a:close/>
                  <a:moveTo>
                    <a:pt x="3253503" y="756254"/>
                  </a:moveTo>
                  <a:cubicBezTo>
                    <a:pt x="3162525" y="756254"/>
                    <a:pt x="3088773" y="830006"/>
                    <a:pt x="3088773" y="920984"/>
                  </a:cubicBezTo>
                  <a:cubicBezTo>
                    <a:pt x="3088773" y="1011962"/>
                    <a:pt x="3162525" y="1085714"/>
                    <a:pt x="3253503" y="1085714"/>
                  </a:cubicBezTo>
                  <a:cubicBezTo>
                    <a:pt x="3344481" y="1085714"/>
                    <a:pt x="3418233" y="1011962"/>
                    <a:pt x="3418233" y="920984"/>
                  </a:cubicBezTo>
                  <a:cubicBezTo>
                    <a:pt x="3418233" y="830006"/>
                    <a:pt x="3344481" y="756254"/>
                    <a:pt x="3253503" y="756254"/>
                  </a:cubicBezTo>
                  <a:close/>
                  <a:moveTo>
                    <a:pt x="1955333" y="744677"/>
                  </a:moveTo>
                  <a:cubicBezTo>
                    <a:pt x="1419975" y="744677"/>
                    <a:pt x="985982" y="1178670"/>
                    <a:pt x="985982" y="1714028"/>
                  </a:cubicBezTo>
                  <a:cubicBezTo>
                    <a:pt x="985982" y="2249386"/>
                    <a:pt x="1419975" y="2683379"/>
                    <a:pt x="1955333" y="2683379"/>
                  </a:cubicBezTo>
                  <a:cubicBezTo>
                    <a:pt x="2490691" y="2683379"/>
                    <a:pt x="2924684" y="2249386"/>
                    <a:pt x="2924684" y="1714028"/>
                  </a:cubicBezTo>
                  <a:cubicBezTo>
                    <a:pt x="2924684" y="1178670"/>
                    <a:pt x="2490691" y="744677"/>
                    <a:pt x="1955333" y="744677"/>
                  </a:cubicBezTo>
                  <a:close/>
                  <a:moveTo>
                    <a:pt x="1333922" y="0"/>
                  </a:moveTo>
                  <a:lnTo>
                    <a:pt x="2626078" y="0"/>
                  </a:lnTo>
                  <a:lnTo>
                    <a:pt x="2717085" y="364028"/>
                  </a:lnTo>
                  <a:lnTo>
                    <a:pt x="3699990" y="364028"/>
                  </a:lnTo>
                  <a:cubicBezTo>
                    <a:pt x="3843590" y="364028"/>
                    <a:pt x="3960000" y="480438"/>
                    <a:pt x="3960000" y="624038"/>
                  </a:cubicBezTo>
                  <a:lnTo>
                    <a:pt x="3960000" y="2804018"/>
                  </a:lnTo>
                  <a:cubicBezTo>
                    <a:pt x="3960000" y="2947618"/>
                    <a:pt x="3843590" y="3064028"/>
                    <a:pt x="3699990" y="3064028"/>
                  </a:cubicBezTo>
                  <a:lnTo>
                    <a:pt x="260010" y="3064028"/>
                  </a:lnTo>
                  <a:cubicBezTo>
                    <a:pt x="116410" y="3064028"/>
                    <a:pt x="0" y="2947618"/>
                    <a:pt x="0" y="2804018"/>
                  </a:cubicBezTo>
                  <a:lnTo>
                    <a:pt x="0" y="624038"/>
                  </a:lnTo>
                  <a:cubicBezTo>
                    <a:pt x="0" y="480438"/>
                    <a:pt x="116410" y="364028"/>
                    <a:pt x="260010" y="364028"/>
                  </a:cubicBezTo>
                  <a:lnTo>
                    <a:pt x="443165" y="364028"/>
                  </a:lnTo>
                  <a:lnTo>
                    <a:pt x="443165" y="237982"/>
                  </a:lnTo>
                  <a:cubicBezTo>
                    <a:pt x="443165" y="195266"/>
                    <a:pt x="477794" y="160637"/>
                    <a:pt x="520510" y="160637"/>
                  </a:cubicBezTo>
                  <a:lnTo>
                    <a:pt x="1049896" y="160637"/>
                  </a:lnTo>
                  <a:cubicBezTo>
                    <a:pt x="1092612" y="160637"/>
                    <a:pt x="1127241" y="195266"/>
                    <a:pt x="1127241" y="237982"/>
                  </a:cubicBezTo>
                  <a:lnTo>
                    <a:pt x="1127241" y="364028"/>
                  </a:lnTo>
                  <a:lnTo>
                    <a:pt x="1242915" y="364028"/>
                  </a:lnTo>
                  <a:close/>
                </a:path>
              </a:pathLst>
            </a:custGeom>
            <a:solidFill>
              <a:srgbClr val="FED000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54" name="Donut 6">
              <a:extLst>
                <a:ext uri="{FF2B5EF4-FFF2-40B4-BE49-F238E27FC236}">
                  <a16:creationId xmlns:a16="http://schemas.microsoft.com/office/drawing/2014/main" id="{E46A4021-E85C-40AD-B616-60A9791B79C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43242" y="3813662"/>
              <a:ext cx="346079" cy="346079"/>
            </a:xfrm>
            <a:custGeom>
              <a:avLst/>
              <a:gdLst/>
              <a:ahLst/>
              <a:cxnLst/>
              <a:rect l="l" t="t" r="r" b="b"/>
              <a:pathLst>
                <a:path w="3960000" h="3960000">
                  <a:moveTo>
                    <a:pt x="1980000" y="1260000"/>
                  </a:moveTo>
                  <a:cubicBezTo>
                    <a:pt x="2377645" y="1260000"/>
                    <a:pt x="2700000" y="1582355"/>
                    <a:pt x="2700000" y="1980000"/>
                  </a:cubicBezTo>
                  <a:cubicBezTo>
                    <a:pt x="2700000" y="2377645"/>
                    <a:pt x="2377645" y="2700000"/>
                    <a:pt x="1980000" y="2700000"/>
                  </a:cubicBezTo>
                  <a:cubicBezTo>
                    <a:pt x="1582355" y="2700000"/>
                    <a:pt x="1260000" y="2377645"/>
                    <a:pt x="1260000" y="1980000"/>
                  </a:cubicBezTo>
                  <a:cubicBezTo>
                    <a:pt x="1260000" y="1582355"/>
                    <a:pt x="1582355" y="1260000"/>
                    <a:pt x="1980000" y="1260000"/>
                  </a:cubicBezTo>
                  <a:close/>
                  <a:moveTo>
                    <a:pt x="2490424" y="1258488"/>
                  </a:moveTo>
                  <a:lnTo>
                    <a:pt x="3822407" y="1258488"/>
                  </a:lnTo>
                  <a:cubicBezTo>
                    <a:pt x="3911854" y="1481555"/>
                    <a:pt x="3960000" y="1725155"/>
                    <a:pt x="3960000" y="1980000"/>
                  </a:cubicBezTo>
                  <a:cubicBezTo>
                    <a:pt x="3960000" y="3073524"/>
                    <a:pt x="3073524" y="3960000"/>
                    <a:pt x="1980000" y="3960000"/>
                  </a:cubicBezTo>
                  <a:lnTo>
                    <a:pt x="1852759" y="3953575"/>
                  </a:lnTo>
                  <a:lnTo>
                    <a:pt x="2729076" y="2455486"/>
                  </a:lnTo>
                  <a:lnTo>
                    <a:pt x="2726868" y="2454194"/>
                  </a:lnTo>
                  <a:cubicBezTo>
                    <a:pt x="2814857" y="2317465"/>
                    <a:pt x="2865416" y="2154637"/>
                    <a:pt x="2865416" y="1980000"/>
                  </a:cubicBezTo>
                  <a:cubicBezTo>
                    <a:pt x="2865416" y="1681504"/>
                    <a:pt x="2717708" y="1417508"/>
                    <a:pt x="2490424" y="1258488"/>
                  </a:cubicBezTo>
                  <a:close/>
                  <a:moveTo>
                    <a:pt x="334727" y="878603"/>
                  </a:moveTo>
                  <a:lnTo>
                    <a:pt x="1154753" y="2298930"/>
                  </a:lnTo>
                  <a:cubicBezTo>
                    <a:pt x="1281989" y="2630497"/>
                    <a:pt x="1603560" y="2865416"/>
                    <a:pt x="1980000" y="2865416"/>
                  </a:cubicBezTo>
                  <a:cubicBezTo>
                    <a:pt x="2123408" y="2865416"/>
                    <a:pt x="2258854" y="2831322"/>
                    <a:pt x="2378271" y="2770003"/>
                  </a:cubicBezTo>
                  <a:lnTo>
                    <a:pt x="1695481" y="3937251"/>
                  </a:lnTo>
                  <a:cubicBezTo>
                    <a:pt x="736579" y="3801546"/>
                    <a:pt x="0" y="2976792"/>
                    <a:pt x="0" y="1980000"/>
                  </a:cubicBezTo>
                  <a:cubicBezTo>
                    <a:pt x="0" y="1572291"/>
                    <a:pt x="123228" y="1193364"/>
                    <a:pt x="334727" y="878603"/>
                  </a:cubicBezTo>
                  <a:close/>
                  <a:moveTo>
                    <a:pt x="1980000" y="0"/>
                  </a:moveTo>
                  <a:cubicBezTo>
                    <a:pt x="2762762" y="0"/>
                    <a:pt x="3439434" y="454224"/>
                    <a:pt x="3758731" y="1114488"/>
                  </a:cubicBezTo>
                  <a:lnTo>
                    <a:pt x="2165892" y="1114488"/>
                  </a:lnTo>
                  <a:cubicBezTo>
                    <a:pt x="2106002" y="1101330"/>
                    <a:pt x="2043789" y="1094584"/>
                    <a:pt x="1980000" y="1094584"/>
                  </a:cubicBezTo>
                  <a:cubicBezTo>
                    <a:pt x="1916211" y="1094584"/>
                    <a:pt x="1853998" y="1101330"/>
                    <a:pt x="1794108" y="1114488"/>
                  </a:cubicBezTo>
                  <a:lnTo>
                    <a:pt x="1774506" y="1114488"/>
                  </a:lnTo>
                  <a:lnTo>
                    <a:pt x="1774506" y="1119528"/>
                  </a:lnTo>
                  <a:cubicBezTo>
                    <a:pt x="1405645" y="1206316"/>
                    <a:pt x="1126346" y="1524537"/>
                    <a:pt x="1097987" y="1912608"/>
                  </a:cubicBezTo>
                  <a:lnTo>
                    <a:pt x="428214" y="752526"/>
                  </a:lnTo>
                  <a:cubicBezTo>
                    <a:pt x="789694" y="293724"/>
                    <a:pt x="1350545" y="0"/>
                    <a:pt x="1980000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55" name="Freeform 31">
              <a:extLst>
                <a:ext uri="{FF2B5EF4-FFF2-40B4-BE49-F238E27FC236}">
                  <a16:creationId xmlns:a16="http://schemas.microsoft.com/office/drawing/2014/main" id="{8E102009-1D40-4065-AB5C-7ED80A8E2E6B}"/>
                </a:ext>
              </a:extLst>
            </p:cNvPr>
            <p:cNvSpPr>
              <a:spLocks noChangeAspect="1"/>
            </p:cNvSpPr>
            <p:nvPr/>
          </p:nvSpPr>
          <p:spPr>
            <a:xfrm rot="8580000">
              <a:off x="1942825" y="2112531"/>
              <a:ext cx="324311" cy="323447"/>
            </a:xfrm>
            <a:custGeom>
              <a:avLst/>
              <a:gdLst/>
              <a:ahLst/>
              <a:cxnLst/>
              <a:rect l="l" t="t" r="r" b="b"/>
              <a:pathLst>
                <a:path w="3872365" h="3862045">
                  <a:moveTo>
                    <a:pt x="1786489" y="808318"/>
                  </a:moveTo>
                  <a:cubicBezTo>
                    <a:pt x="1525809" y="610106"/>
                    <a:pt x="1257124" y="397966"/>
                    <a:pt x="1040385" y="230829"/>
                  </a:cubicBezTo>
                  <a:cubicBezTo>
                    <a:pt x="1905215" y="-194386"/>
                    <a:pt x="2650439" y="24572"/>
                    <a:pt x="3162062" y="429660"/>
                  </a:cubicBezTo>
                  <a:cubicBezTo>
                    <a:pt x="3007351" y="875340"/>
                    <a:pt x="2905932" y="1443216"/>
                    <a:pt x="2745609" y="1410478"/>
                  </a:cubicBezTo>
                  <a:cubicBezTo>
                    <a:pt x="2633182" y="1430335"/>
                    <a:pt x="2220955" y="1138671"/>
                    <a:pt x="1786489" y="808318"/>
                  </a:cubicBezTo>
                  <a:close/>
                  <a:moveTo>
                    <a:pt x="2701004" y="2590217"/>
                  </a:moveTo>
                  <a:cubicBezTo>
                    <a:pt x="2682933" y="2576481"/>
                    <a:pt x="2672282" y="2559744"/>
                    <a:pt x="2670336" y="2539383"/>
                  </a:cubicBezTo>
                  <a:cubicBezTo>
                    <a:pt x="2587360" y="2376647"/>
                    <a:pt x="3042640" y="1246798"/>
                    <a:pt x="3299881" y="563773"/>
                  </a:cubicBezTo>
                  <a:cubicBezTo>
                    <a:pt x="3959368" y="1266493"/>
                    <a:pt x="3967860" y="2043171"/>
                    <a:pt x="3730056" y="2650875"/>
                  </a:cubicBezTo>
                  <a:cubicBezTo>
                    <a:pt x="3317547" y="2635434"/>
                    <a:pt x="2827499" y="2686366"/>
                    <a:pt x="2701004" y="2590217"/>
                  </a:cubicBezTo>
                  <a:close/>
                  <a:moveTo>
                    <a:pt x="19691" y="2248546"/>
                  </a:moveTo>
                  <a:cubicBezTo>
                    <a:pt x="-100797" y="1292396"/>
                    <a:pt x="348853" y="659059"/>
                    <a:pt x="898439" y="307194"/>
                  </a:cubicBezTo>
                  <a:cubicBezTo>
                    <a:pt x="1269469" y="598575"/>
                    <a:pt x="1773388" y="879352"/>
                    <a:pt x="1690237" y="1020281"/>
                  </a:cubicBezTo>
                  <a:cubicBezTo>
                    <a:pt x="1661713" y="1200709"/>
                    <a:pt x="629275" y="1847170"/>
                    <a:pt x="19691" y="2248546"/>
                  </a:cubicBezTo>
                  <a:close/>
                  <a:moveTo>
                    <a:pt x="1805382" y="3858278"/>
                  </a:moveTo>
                  <a:cubicBezTo>
                    <a:pt x="1676483" y="3404460"/>
                    <a:pt x="1433840" y="2881111"/>
                    <a:pt x="1583946" y="2815971"/>
                  </a:cubicBezTo>
                  <a:cubicBezTo>
                    <a:pt x="1713076" y="2686769"/>
                    <a:pt x="2928316" y="2770622"/>
                    <a:pt x="3657403" y="2804207"/>
                  </a:cubicBezTo>
                  <a:cubicBezTo>
                    <a:pt x="3192869" y="3648569"/>
                    <a:pt x="2456828" y="3896652"/>
                    <a:pt x="1805382" y="3858278"/>
                  </a:cubicBezTo>
                  <a:close/>
                  <a:moveTo>
                    <a:pt x="762284" y="3480575"/>
                  </a:moveTo>
                  <a:cubicBezTo>
                    <a:pt x="380940" y="3198297"/>
                    <a:pt x="161300" y="2806810"/>
                    <a:pt x="58293" y="2412172"/>
                  </a:cubicBezTo>
                  <a:cubicBezTo>
                    <a:pt x="450067" y="2149344"/>
                    <a:pt x="872820" y="1756853"/>
                    <a:pt x="981158" y="1879484"/>
                  </a:cubicBezTo>
                  <a:cubicBezTo>
                    <a:pt x="1143940" y="1962367"/>
                    <a:pt x="1439720" y="3144041"/>
                    <a:pt x="1633080" y="3847823"/>
                  </a:cubicBezTo>
                  <a:cubicBezTo>
                    <a:pt x="1278110" y="3779994"/>
                    <a:pt x="991090" y="3649942"/>
                    <a:pt x="762284" y="3480575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56" name="Rectangle 1">
              <a:extLst>
                <a:ext uri="{FF2B5EF4-FFF2-40B4-BE49-F238E27FC236}">
                  <a16:creationId xmlns:a16="http://schemas.microsoft.com/office/drawing/2014/main" id="{FB179A8C-A8F6-4AFC-99A8-353FBBDFBBD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899685" y="5518298"/>
              <a:ext cx="355888" cy="355205"/>
            </a:xfrm>
            <a:custGeom>
              <a:avLst/>
              <a:gdLst/>
              <a:ahLst/>
              <a:cxnLst/>
              <a:rect l="l" t="t" r="r" b="b"/>
              <a:pathLst>
                <a:path w="4020621" h="4012920">
                  <a:moveTo>
                    <a:pt x="780213" y="3724888"/>
                  </a:moveTo>
                  <a:lnTo>
                    <a:pt x="2868445" y="3724888"/>
                  </a:lnTo>
                  <a:lnTo>
                    <a:pt x="2868445" y="4012920"/>
                  </a:lnTo>
                  <a:lnTo>
                    <a:pt x="780213" y="4012920"/>
                  </a:lnTo>
                  <a:close/>
                  <a:moveTo>
                    <a:pt x="4020621" y="2152587"/>
                  </a:moveTo>
                  <a:lnTo>
                    <a:pt x="4020621" y="3448731"/>
                  </a:lnTo>
                  <a:lnTo>
                    <a:pt x="3903908" y="3386593"/>
                  </a:lnTo>
                  <a:lnTo>
                    <a:pt x="3903908" y="2214725"/>
                  </a:lnTo>
                  <a:close/>
                  <a:moveTo>
                    <a:pt x="1582587" y="1544569"/>
                  </a:moveTo>
                  <a:cubicBezTo>
                    <a:pt x="1525677" y="1652847"/>
                    <a:pt x="1434945" y="1739939"/>
                    <a:pt x="1324158" y="1792547"/>
                  </a:cubicBezTo>
                  <a:lnTo>
                    <a:pt x="1790243" y="1792547"/>
                  </a:lnTo>
                  <a:cubicBezTo>
                    <a:pt x="1708293" y="1721838"/>
                    <a:pt x="1638004" y="1638154"/>
                    <a:pt x="1582587" y="1544569"/>
                  </a:cubicBezTo>
                  <a:close/>
                  <a:moveTo>
                    <a:pt x="1238323" y="1312673"/>
                  </a:moveTo>
                  <a:cubicBezTo>
                    <a:pt x="1173622" y="1312673"/>
                    <a:pt x="1121172" y="1365123"/>
                    <a:pt x="1121172" y="1429824"/>
                  </a:cubicBezTo>
                  <a:cubicBezTo>
                    <a:pt x="1121172" y="1494525"/>
                    <a:pt x="1173622" y="1546975"/>
                    <a:pt x="1238323" y="1546975"/>
                  </a:cubicBezTo>
                  <a:cubicBezTo>
                    <a:pt x="1303024" y="1546975"/>
                    <a:pt x="1355474" y="1494525"/>
                    <a:pt x="1355474" y="1429824"/>
                  </a:cubicBezTo>
                  <a:cubicBezTo>
                    <a:pt x="1355474" y="1365123"/>
                    <a:pt x="1303024" y="1312673"/>
                    <a:pt x="1238323" y="1312673"/>
                  </a:cubicBezTo>
                  <a:close/>
                  <a:moveTo>
                    <a:pt x="870057" y="1312673"/>
                  </a:moveTo>
                  <a:cubicBezTo>
                    <a:pt x="805356" y="1312673"/>
                    <a:pt x="752906" y="1365123"/>
                    <a:pt x="752906" y="1429824"/>
                  </a:cubicBezTo>
                  <a:cubicBezTo>
                    <a:pt x="752906" y="1494525"/>
                    <a:pt x="805356" y="1546975"/>
                    <a:pt x="870057" y="1546975"/>
                  </a:cubicBezTo>
                  <a:cubicBezTo>
                    <a:pt x="934758" y="1546975"/>
                    <a:pt x="987208" y="1494525"/>
                    <a:pt x="987208" y="1429824"/>
                  </a:cubicBezTo>
                  <a:cubicBezTo>
                    <a:pt x="987208" y="1365123"/>
                    <a:pt x="934758" y="1312673"/>
                    <a:pt x="870057" y="1312673"/>
                  </a:cubicBezTo>
                  <a:close/>
                  <a:moveTo>
                    <a:pt x="2775838" y="1127627"/>
                  </a:moveTo>
                  <a:cubicBezTo>
                    <a:pt x="2666578" y="1127627"/>
                    <a:pt x="2578006" y="1216199"/>
                    <a:pt x="2578006" y="1325459"/>
                  </a:cubicBezTo>
                  <a:cubicBezTo>
                    <a:pt x="2578006" y="1434719"/>
                    <a:pt x="2666578" y="1523291"/>
                    <a:pt x="2775838" y="1523291"/>
                  </a:cubicBezTo>
                  <a:cubicBezTo>
                    <a:pt x="2885098" y="1523291"/>
                    <a:pt x="2973670" y="1434719"/>
                    <a:pt x="2973670" y="1325459"/>
                  </a:cubicBezTo>
                  <a:cubicBezTo>
                    <a:pt x="2973670" y="1216199"/>
                    <a:pt x="2885098" y="1127627"/>
                    <a:pt x="2775838" y="1127627"/>
                  </a:cubicBezTo>
                  <a:close/>
                  <a:moveTo>
                    <a:pt x="2153949" y="1127627"/>
                  </a:moveTo>
                  <a:cubicBezTo>
                    <a:pt x="2044689" y="1127627"/>
                    <a:pt x="1956117" y="1216199"/>
                    <a:pt x="1956117" y="1325459"/>
                  </a:cubicBezTo>
                  <a:cubicBezTo>
                    <a:pt x="1956117" y="1434719"/>
                    <a:pt x="2044689" y="1523291"/>
                    <a:pt x="2153949" y="1523291"/>
                  </a:cubicBezTo>
                  <a:cubicBezTo>
                    <a:pt x="2263209" y="1523291"/>
                    <a:pt x="2351781" y="1434719"/>
                    <a:pt x="2351781" y="1325459"/>
                  </a:cubicBezTo>
                  <a:cubicBezTo>
                    <a:pt x="2351781" y="1216199"/>
                    <a:pt x="2263209" y="1127627"/>
                    <a:pt x="2153949" y="1127627"/>
                  </a:cubicBezTo>
                  <a:close/>
                  <a:moveTo>
                    <a:pt x="1238323" y="956510"/>
                  </a:moveTo>
                  <a:cubicBezTo>
                    <a:pt x="1173622" y="956510"/>
                    <a:pt x="1121172" y="1008960"/>
                    <a:pt x="1121172" y="1073661"/>
                  </a:cubicBezTo>
                  <a:cubicBezTo>
                    <a:pt x="1121172" y="1138362"/>
                    <a:pt x="1173622" y="1190812"/>
                    <a:pt x="1238323" y="1190812"/>
                  </a:cubicBezTo>
                  <a:cubicBezTo>
                    <a:pt x="1303024" y="1190812"/>
                    <a:pt x="1355474" y="1138362"/>
                    <a:pt x="1355474" y="1073661"/>
                  </a:cubicBezTo>
                  <a:cubicBezTo>
                    <a:pt x="1355474" y="1008960"/>
                    <a:pt x="1303024" y="956510"/>
                    <a:pt x="1238323" y="956510"/>
                  </a:cubicBezTo>
                  <a:close/>
                  <a:moveTo>
                    <a:pt x="870057" y="956510"/>
                  </a:moveTo>
                  <a:cubicBezTo>
                    <a:pt x="805356" y="956510"/>
                    <a:pt x="752906" y="1008960"/>
                    <a:pt x="752906" y="1073661"/>
                  </a:cubicBezTo>
                  <a:cubicBezTo>
                    <a:pt x="752906" y="1138362"/>
                    <a:pt x="805356" y="1190812"/>
                    <a:pt x="870057" y="1190812"/>
                  </a:cubicBezTo>
                  <a:cubicBezTo>
                    <a:pt x="934758" y="1190812"/>
                    <a:pt x="987208" y="1138362"/>
                    <a:pt x="987208" y="1073661"/>
                  </a:cubicBezTo>
                  <a:cubicBezTo>
                    <a:pt x="987208" y="1008960"/>
                    <a:pt x="934758" y="956510"/>
                    <a:pt x="870057" y="956510"/>
                  </a:cubicBezTo>
                  <a:close/>
                  <a:moveTo>
                    <a:pt x="2775838" y="526176"/>
                  </a:moveTo>
                  <a:cubicBezTo>
                    <a:pt x="2666578" y="526176"/>
                    <a:pt x="2578006" y="614748"/>
                    <a:pt x="2578006" y="724008"/>
                  </a:cubicBezTo>
                  <a:cubicBezTo>
                    <a:pt x="2578006" y="833268"/>
                    <a:pt x="2666578" y="921840"/>
                    <a:pt x="2775838" y="921840"/>
                  </a:cubicBezTo>
                  <a:cubicBezTo>
                    <a:pt x="2885098" y="921840"/>
                    <a:pt x="2973670" y="833268"/>
                    <a:pt x="2973670" y="724008"/>
                  </a:cubicBezTo>
                  <a:cubicBezTo>
                    <a:pt x="2973670" y="614748"/>
                    <a:pt x="2885098" y="526176"/>
                    <a:pt x="2775838" y="526176"/>
                  </a:cubicBezTo>
                  <a:close/>
                  <a:moveTo>
                    <a:pt x="2153949" y="526176"/>
                  </a:moveTo>
                  <a:cubicBezTo>
                    <a:pt x="2044689" y="526176"/>
                    <a:pt x="1956117" y="614748"/>
                    <a:pt x="1956117" y="724008"/>
                  </a:cubicBezTo>
                  <a:cubicBezTo>
                    <a:pt x="1956117" y="833268"/>
                    <a:pt x="2044689" y="921840"/>
                    <a:pt x="2153949" y="921840"/>
                  </a:cubicBezTo>
                  <a:cubicBezTo>
                    <a:pt x="2263209" y="921840"/>
                    <a:pt x="2351781" y="833268"/>
                    <a:pt x="2351781" y="724008"/>
                  </a:cubicBezTo>
                  <a:cubicBezTo>
                    <a:pt x="2351781" y="614748"/>
                    <a:pt x="2263209" y="526176"/>
                    <a:pt x="2153949" y="526176"/>
                  </a:cubicBezTo>
                  <a:close/>
                  <a:moveTo>
                    <a:pt x="2464893" y="0"/>
                  </a:moveTo>
                  <a:cubicBezTo>
                    <a:pt x="3030837" y="0"/>
                    <a:pt x="3489626" y="458789"/>
                    <a:pt x="3489626" y="1024733"/>
                  </a:cubicBezTo>
                  <a:cubicBezTo>
                    <a:pt x="3489626" y="1442455"/>
                    <a:pt x="3239684" y="1801800"/>
                    <a:pt x="2880320" y="1959209"/>
                  </a:cubicBezTo>
                  <a:lnTo>
                    <a:pt x="2880320" y="2008571"/>
                  </a:lnTo>
                  <a:lnTo>
                    <a:pt x="3250857" y="2008571"/>
                  </a:lnTo>
                  <a:lnTo>
                    <a:pt x="3250857" y="2359970"/>
                  </a:lnTo>
                  <a:lnTo>
                    <a:pt x="3437294" y="2359970"/>
                  </a:lnTo>
                  <a:lnTo>
                    <a:pt x="3437294" y="2360694"/>
                  </a:lnTo>
                  <a:lnTo>
                    <a:pt x="3852060" y="2233461"/>
                  </a:lnTo>
                  <a:lnTo>
                    <a:pt x="3852060" y="3367858"/>
                  </a:lnTo>
                  <a:lnTo>
                    <a:pt x="3437294" y="3240624"/>
                  </a:lnTo>
                  <a:lnTo>
                    <a:pt x="3437294" y="3241349"/>
                  </a:lnTo>
                  <a:lnTo>
                    <a:pt x="3250857" y="3241349"/>
                  </a:lnTo>
                  <a:lnTo>
                    <a:pt x="3250857" y="3633063"/>
                  </a:lnTo>
                  <a:lnTo>
                    <a:pt x="298529" y="3633063"/>
                  </a:lnTo>
                  <a:lnTo>
                    <a:pt x="298529" y="2431730"/>
                  </a:lnTo>
                  <a:lnTo>
                    <a:pt x="0" y="2008571"/>
                  </a:lnTo>
                  <a:lnTo>
                    <a:pt x="298529" y="2008571"/>
                  </a:lnTo>
                  <a:lnTo>
                    <a:pt x="792088" y="2008571"/>
                  </a:lnTo>
                  <a:lnTo>
                    <a:pt x="792088" y="1796817"/>
                  </a:lnTo>
                  <a:cubicBezTo>
                    <a:pt x="587745" y="1700755"/>
                    <a:pt x="447370" y="1492642"/>
                    <a:pt x="447370" y="1251742"/>
                  </a:cubicBezTo>
                  <a:cubicBezTo>
                    <a:pt x="447370" y="916605"/>
                    <a:pt x="719053" y="644923"/>
                    <a:pt x="1054190" y="644923"/>
                  </a:cubicBezTo>
                  <a:cubicBezTo>
                    <a:pt x="1212753" y="644923"/>
                    <a:pt x="1357112" y="705740"/>
                    <a:pt x="1463939" y="806702"/>
                  </a:cubicBezTo>
                  <a:cubicBezTo>
                    <a:pt x="1563407" y="345444"/>
                    <a:pt x="1973809" y="0"/>
                    <a:pt x="2464893" y="0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sp>
          <p:nvSpPr>
            <p:cNvPr id="57" name="Rounded Rectangle 24">
              <a:extLst>
                <a:ext uri="{FF2B5EF4-FFF2-40B4-BE49-F238E27FC236}">
                  <a16:creationId xmlns:a16="http://schemas.microsoft.com/office/drawing/2014/main" id="{8F8A712D-1D82-4026-91AB-28326F7887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951063" y="4728508"/>
              <a:ext cx="324464" cy="251053"/>
            </a:xfrm>
            <a:custGeom>
              <a:avLst/>
              <a:gdLst/>
              <a:ahLst/>
              <a:cxnLst/>
              <a:rect l="l" t="t" r="r" b="b"/>
              <a:pathLst>
                <a:path w="3960000" h="3064028">
                  <a:moveTo>
                    <a:pt x="1955333" y="1285185"/>
                  </a:moveTo>
                  <a:cubicBezTo>
                    <a:pt x="2192176" y="1285185"/>
                    <a:pt x="2384176" y="1477185"/>
                    <a:pt x="2384176" y="1714028"/>
                  </a:cubicBezTo>
                  <a:cubicBezTo>
                    <a:pt x="2384176" y="1950871"/>
                    <a:pt x="2192176" y="2142871"/>
                    <a:pt x="1955333" y="2142871"/>
                  </a:cubicBezTo>
                  <a:cubicBezTo>
                    <a:pt x="1718490" y="2142871"/>
                    <a:pt x="1526490" y="1950871"/>
                    <a:pt x="1526490" y="1714028"/>
                  </a:cubicBezTo>
                  <a:cubicBezTo>
                    <a:pt x="1526490" y="1477185"/>
                    <a:pt x="1718490" y="1285185"/>
                    <a:pt x="1955333" y="1285185"/>
                  </a:cubicBezTo>
                  <a:close/>
                  <a:moveTo>
                    <a:pt x="1955333" y="1074136"/>
                  </a:moveTo>
                  <a:cubicBezTo>
                    <a:pt x="1601930" y="1074136"/>
                    <a:pt x="1315441" y="1360625"/>
                    <a:pt x="1315441" y="1714028"/>
                  </a:cubicBezTo>
                  <a:cubicBezTo>
                    <a:pt x="1315441" y="2067431"/>
                    <a:pt x="1601930" y="2353920"/>
                    <a:pt x="1955333" y="2353920"/>
                  </a:cubicBezTo>
                  <a:cubicBezTo>
                    <a:pt x="2308736" y="2353920"/>
                    <a:pt x="2595225" y="2067431"/>
                    <a:pt x="2595225" y="1714028"/>
                  </a:cubicBezTo>
                  <a:cubicBezTo>
                    <a:pt x="2595225" y="1360625"/>
                    <a:pt x="2308736" y="1074136"/>
                    <a:pt x="1955333" y="1074136"/>
                  </a:cubicBezTo>
                  <a:close/>
                  <a:moveTo>
                    <a:pt x="1955333" y="849503"/>
                  </a:moveTo>
                  <a:cubicBezTo>
                    <a:pt x="2432797" y="849503"/>
                    <a:pt x="2819858" y="1236564"/>
                    <a:pt x="2819858" y="1714028"/>
                  </a:cubicBezTo>
                  <a:cubicBezTo>
                    <a:pt x="2819858" y="2191492"/>
                    <a:pt x="2432797" y="2578553"/>
                    <a:pt x="1955333" y="2578553"/>
                  </a:cubicBezTo>
                  <a:cubicBezTo>
                    <a:pt x="1477869" y="2578553"/>
                    <a:pt x="1090808" y="2191492"/>
                    <a:pt x="1090808" y="1714028"/>
                  </a:cubicBezTo>
                  <a:cubicBezTo>
                    <a:pt x="1090808" y="1236564"/>
                    <a:pt x="1477869" y="849503"/>
                    <a:pt x="1955333" y="849503"/>
                  </a:cubicBezTo>
                  <a:close/>
                  <a:moveTo>
                    <a:pt x="3253503" y="756254"/>
                  </a:moveTo>
                  <a:cubicBezTo>
                    <a:pt x="3162525" y="756254"/>
                    <a:pt x="3088773" y="830006"/>
                    <a:pt x="3088773" y="920984"/>
                  </a:cubicBezTo>
                  <a:cubicBezTo>
                    <a:pt x="3088773" y="1011962"/>
                    <a:pt x="3162525" y="1085714"/>
                    <a:pt x="3253503" y="1085714"/>
                  </a:cubicBezTo>
                  <a:cubicBezTo>
                    <a:pt x="3344481" y="1085714"/>
                    <a:pt x="3418233" y="1011962"/>
                    <a:pt x="3418233" y="920984"/>
                  </a:cubicBezTo>
                  <a:cubicBezTo>
                    <a:pt x="3418233" y="830006"/>
                    <a:pt x="3344481" y="756254"/>
                    <a:pt x="3253503" y="756254"/>
                  </a:cubicBezTo>
                  <a:close/>
                  <a:moveTo>
                    <a:pt x="1955333" y="744677"/>
                  </a:moveTo>
                  <a:cubicBezTo>
                    <a:pt x="1419975" y="744677"/>
                    <a:pt x="985982" y="1178670"/>
                    <a:pt x="985982" y="1714028"/>
                  </a:cubicBezTo>
                  <a:cubicBezTo>
                    <a:pt x="985982" y="2249386"/>
                    <a:pt x="1419975" y="2683379"/>
                    <a:pt x="1955333" y="2683379"/>
                  </a:cubicBezTo>
                  <a:cubicBezTo>
                    <a:pt x="2490691" y="2683379"/>
                    <a:pt x="2924684" y="2249386"/>
                    <a:pt x="2924684" y="1714028"/>
                  </a:cubicBezTo>
                  <a:cubicBezTo>
                    <a:pt x="2924684" y="1178670"/>
                    <a:pt x="2490691" y="744677"/>
                    <a:pt x="1955333" y="744677"/>
                  </a:cubicBezTo>
                  <a:close/>
                  <a:moveTo>
                    <a:pt x="1333922" y="0"/>
                  </a:moveTo>
                  <a:lnTo>
                    <a:pt x="2626078" y="0"/>
                  </a:lnTo>
                  <a:lnTo>
                    <a:pt x="2717085" y="364028"/>
                  </a:lnTo>
                  <a:lnTo>
                    <a:pt x="3699990" y="364028"/>
                  </a:lnTo>
                  <a:cubicBezTo>
                    <a:pt x="3843590" y="364028"/>
                    <a:pt x="3960000" y="480438"/>
                    <a:pt x="3960000" y="624038"/>
                  </a:cubicBezTo>
                  <a:lnTo>
                    <a:pt x="3960000" y="2804018"/>
                  </a:lnTo>
                  <a:cubicBezTo>
                    <a:pt x="3960000" y="2947618"/>
                    <a:pt x="3843590" y="3064028"/>
                    <a:pt x="3699990" y="3064028"/>
                  </a:cubicBezTo>
                  <a:lnTo>
                    <a:pt x="260010" y="3064028"/>
                  </a:lnTo>
                  <a:cubicBezTo>
                    <a:pt x="116410" y="3064028"/>
                    <a:pt x="0" y="2947618"/>
                    <a:pt x="0" y="2804018"/>
                  </a:cubicBezTo>
                  <a:lnTo>
                    <a:pt x="0" y="624038"/>
                  </a:lnTo>
                  <a:cubicBezTo>
                    <a:pt x="0" y="480438"/>
                    <a:pt x="116410" y="364028"/>
                    <a:pt x="260010" y="364028"/>
                  </a:cubicBezTo>
                  <a:lnTo>
                    <a:pt x="443165" y="364028"/>
                  </a:lnTo>
                  <a:lnTo>
                    <a:pt x="443165" y="237982"/>
                  </a:lnTo>
                  <a:cubicBezTo>
                    <a:pt x="443165" y="195266"/>
                    <a:pt x="477794" y="160637"/>
                    <a:pt x="520510" y="160637"/>
                  </a:cubicBezTo>
                  <a:lnTo>
                    <a:pt x="1049896" y="160637"/>
                  </a:lnTo>
                  <a:cubicBezTo>
                    <a:pt x="1092612" y="160637"/>
                    <a:pt x="1127241" y="195266"/>
                    <a:pt x="1127241" y="237982"/>
                  </a:cubicBezTo>
                  <a:lnTo>
                    <a:pt x="1127241" y="364028"/>
                  </a:lnTo>
                  <a:lnTo>
                    <a:pt x="1242915" y="364028"/>
                  </a:ln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>
                <a:defRPr/>
              </a:pPr>
              <a:endParaRPr lang="ko-KR" altLang="en-US" sz="2701" kern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Arial Unicode MS"/>
              </a:endParaRPr>
            </a:p>
          </p:txBody>
        </p:sp>
        <p:grpSp>
          <p:nvGrpSpPr>
            <p:cNvPr id="58" name="Group 31">
              <a:extLst>
                <a:ext uri="{FF2B5EF4-FFF2-40B4-BE49-F238E27FC236}">
                  <a16:creationId xmlns:a16="http://schemas.microsoft.com/office/drawing/2014/main" id="{E4685D39-B32C-4340-8A2F-FEF356D42313}"/>
                </a:ext>
              </a:extLst>
            </p:cNvPr>
            <p:cNvGrpSpPr/>
            <p:nvPr/>
          </p:nvGrpSpPr>
          <p:grpSpPr>
            <a:xfrm>
              <a:off x="2576440" y="2815011"/>
              <a:ext cx="4735787" cy="461665"/>
              <a:chOff x="592509" y="1678502"/>
              <a:chExt cx="2361076" cy="461665"/>
            </a:xfrm>
            <a:solidFill>
              <a:srgbClr val="5A9BD5"/>
            </a:solidFill>
          </p:grpSpPr>
          <p:sp>
            <p:nvSpPr>
              <p:cNvPr id="59" name="TextBox 32">
                <a:extLst>
                  <a:ext uri="{FF2B5EF4-FFF2-40B4-BE49-F238E27FC236}">
                    <a16:creationId xmlns:a16="http://schemas.microsoft.com/office/drawing/2014/main" id="{C478ABDA-D757-48DE-A3A4-F9B67DF0751F}"/>
                  </a:ext>
                </a:extLst>
              </p:cNvPr>
              <p:cNvSpPr txBox="1"/>
              <p:nvPr/>
            </p:nvSpPr>
            <p:spPr>
              <a:xfrm>
                <a:off x="592509" y="1803013"/>
                <a:ext cx="2361076" cy="276999"/>
              </a:xfrm>
              <a:prstGeom prst="rect">
                <a:avLst/>
              </a:prstGeom>
              <a:solidFill>
                <a:srgbClr val="224A90"/>
              </a:solidFill>
            </p:spPr>
            <p:txBody>
              <a:bodyPr wrap="square" rtlCol="0">
                <a:spAutoFit/>
              </a:bodyPr>
              <a:lstStyle/>
              <a:p>
                <a:pPr defTabSz="914377">
                  <a:defRPr/>
                </a:pPr>
                <a:endParaRPr lang="en-US" altLang="ko-KR" sz="1200" dirty="0">
                  <a:solidFill>
                    <a:prstClr val="white"/>
                  </a:solidFill>
                  <a:latin typeface="Arial"/>
                  <a:ea typeface="Arial Unicode MS"/>
                  <a:cs typeface="Arial" pitchFamily="34" charset="0"/>
                </a:endParaRPr>
              </a:p>
            </p:txBody>
          </p:sp>
          <p:sp>
            <p:nvSpPr>
              <p:cNvPr id="60" name="TextBox 33">
                <a:extLst>
                  <a:ext uri="{FF2B5EF4-FFF2-40B4-BE49-F238E27FC236}">
                    <a16:creationId xmlns:a16="http://schemas.microsoft.com/office/drawing/2014/main" id="{05D53B52-CE6E-4A09-802F-77A4218E88F9}"/>
                  </a:ext>
                </a:extLst>
              </p:cNvPr>
              <p:cNvSpPr txBox="1"/>
              <p:nvPr/>
            </p:nvSpPr>
            <p:spPr>
              <a:xfrm>
                <a:off x="592509" y="1678502"/>
                <a:ext cx="2361075" cy="461665"/>
              </a:xfrm>
              <a:prstGeom prst="rect">
                <a:avLst/>
              </a:prstGeom>
              <a:solidFill>
                <a:srgbClr val="4159A4"/>
              </a:solidFill>
              <a:ln>
                <a:noFill/>
              </a:ln>
            </p:spPr>
            <p:txBody>
              <a:bodyPr wrap="square" lIns="108000" rIns="108000" rtlCol="0">
                <a:spAutoFit/>
              </a:bodyPr>
              <a:lstStyle/>
              <a:p>
                <a:pPr defTabSz="914377">
                  <a:defRPr/>
                </a:pPr>
                <a:r>
                  <a:rPr lang="fr-FR" altLang="ko-KR" sz="1200" b="1" dirty="0">
                    <a:solidFill>
                      <a:schemeClr val="bg1"/>
                    </a:solidFill>
                    <a:latin typeface="Arial"/>
                    <a:ea typeface="Arial Unicode MS"/>
                    <a:cs typeface="Arial" pitchFamily="34" charset="0"/>
                  </a:rPr>
                  <a:t>Garantir</a:t>
                </a:r>
                <a:r>
                  <a:rPr lang="fr-FR" altLang="ko-KR" sz="1200" b="1" dirty="0">
                    <a:solidFill>
                      <a:prstClr val="white"/>
                    </a:solidFill>
                    <a:latin typeface="Arial"/>
                    <a:ea typeface="Arial Unicode MS"/>
                    <a:cs typeface="Arial" pitchFamily="34" charset="0"/>
                  </a:rPr>
                  <a:t> la </a:t>
                </a:r>
                <a:r>
                  <a:rPr lang="fr-FR" altLang="ko-KR" sz="1200" b="1" dirty="0">
                    <a:solidFill>
                      <a:srgbClr val="FED000"/>
                    </a:solidFill>
                    <a:latin typeface="Arial"/>
                    <a:ea typeface="Arial Unicode MS"/>
                    <a:cs typeface="Arial" pitchFamily="34" charset="0"/>
                  </a:rPr>
                  <a:t>réponse aux besoins </a:t>
                </a:r>
                <a:r>
                  <a:rPr lang="fr-FR" altLang="ko-KR" sz="1200" b="1" dirty="0">
                    <a:solidFill>
                      <a:prstClr val="white"/>
                    </a:solidFill>
                    <a:latin typeface="Arial"/>
                    <a:ea typeface="Arial Unicode MS"/>
                    <a:cs typeface="Arial" pitchFamily="34" charset="0"/>
                  </a:rPr>
                  <a:t>de chaque cible (grand public, médias, professionnels, partenaires, employés,..)</a:t>
                </a:r>
              </a:p>
            </p:txBody>
          </p:sp>
        </p:grpSp>
        <p:grpSp>
          <p:nvGrpSpPr>
            <p:cNvPr id="61" name="Group 34">
              <a:extLst>
                <a:ext uri="{FF2B5EF4-FFF2-40B4-BE49-F238E27FC236}">
                  <a16:creationId xmlns:a16="http://schemas.microsoft.com/office/drawing/2014/main" id="{4A2DF7C1-1396-4005-8785-A999EC98760D}"/>
                </a:ext>
              </a:extLst>
            </p:cNvPr>
            <p:cNvGrpSpPr/>
            <p:nvPr/>
          </p:nvGrpSpPr>
          <p:grpSpPr>
            <a:xfrm>
              <a:off x="2576440" y="3679035"/>
              <a:ext cx="4735787" cy="646331"/>
              <a:chOff x="592509" y="1673914"/>
              <a:chExt cx="2361076" cy="646333"/>
            </a:xfrm>
            <a:solidFill>
              <a:schemeClr val="tx1"/>
            </a:solidFill>
          </p:grpSpPr>
          <p:sp>
            <p:nvSpPr>
              <p:cNvPr id="62" name="TextBox 35">
                <a:extLst>
                  <a:ext uri="{FF2B5EF4-FFF2-40B4-BE49-F238E27FC236}">
                    <a16:creationId xmlns:a16="http://schemas.microsoft.com/office/drawing/2014/main" id="{A2813E4D-9AD6-4A11-99C4-F76D6BFB3117}"/>
                  </a:ext>
                </a:extLst>
              </p:cNvPr>
              <p:cNvSpPr txBox="1"/>
              <p:nvPr/>
            </p:nvSpPr>
            <p:spPr>
              <a:xfrm>
                <a:off x="592509" y="1803013"/>
                <a:ext cx="2361076" cy="461666"/>
              </a:xfrm>
              <a:prstGeom prst="rect">
                <a:avLst/>
              </a:prstGeom>
              <a:grpFill/>
            </p:spPr>
            <p:txBody>
              <a:bodyPr wrap="square" rtlCol="0">
                <a:spAutoFit/>
              </a:bodyPr>
              <a:lstStyle/>
              <a:p>
                <a:pPr defTabSz="914377">
                  <a:defRPr/>
                </a:pPr>
                <a:r>
                  <a:rPr lang="en-US" altLang="ko-KR" sz="1200" dirty="0">
                    <a:solidFill>
                      <a:prstClr val="white"/>
                    </a:solidFill>
                    <a:latin typeface="Arial"/>
                    <a:ea typeface="Arial Unicode MS"/>
                    <a:cs typeface="Arial" pitchFamily="34" charset="0"/>
                  </a:rPr>
                  <a:t>Get a modern PowerPoint  Presentation that is beautifully designed. </a:t>
                </a:r>
                <a:r>
                  <a:rPr lang="en-US" altLang="ko-KR" sz="1200" dirty="0">
                    <a:solidFill>
                      <a:prstClr val="white"/>
                    </a:solidFill>
                    <a:latin typeface="Arial" pitchFamily="34" charset="0"/>
                    <a:ea typeface="Arial Unicode MS"/>
                    <a:cs typeface="Arial" pitchFamily="34" charset="0"/>
                  </a:rPr>
                  <a:t>Easy to change colors, photos and Text. </a:t>
                </a:r>
                <a:endParaRPr lang="en-US" altLang="ko-KR" sz="1200" dirty="0">
                  <a:solidFill>
                    <a:prstClr val="white"/>
                  </a:solidFill>
                  <a:latin typeface="Arial"/>
                  <a:ea typeface="Arial Unicode MS"/>
                  <a:cs typeface="Arial" pitchFamily="34" charset="0"/>
                </a:endParaRPr>
              </a:p>
            </p:txBody>
          </p:sp>
          <p:sp>
            <p:nvSpPr>
              <p:cNvPr id="63" name="TextBox 36">
                <a:extLst>
                  <a:ext uri="{FF2B5EF4-FFF2-40B4-BE49-F238E27FC236}">
                    <a16:creationId xmlns:a16="http://schemas.microsoft.com/office/drawing/2014/main" id="{073DD791-82D9-429B-80EF-C9884FE39B7C}"/>
                  </a:ext>
                </a:extLst>
              </p:cNvPr>
              <p:cNvSpPr txBox="1"/>
              <p:nvPr/>
            </p:nvSpPr>
            <p:spPr>
              <a:xfrm>
                <a:off x="592509" y="1673914"/>
                <a:ext cx="2361075" cy="646333"/>
              </a:xfrm>
              <a:prstGeom prst="rect">
                <a:avLst/>
              </a:prstGeom>
              <a:solidFill>
                <a:srgbClr val="FCD400"/>
              </a:solidFill>
            </p:spPr>
            <p:txBody>
              <a:bodyPr wrap="square" lIns="108000" rIns="108000" rtlCol="0">
                <a:spAutoFit/>
              </a:bodyPr>
              <a:lstStyle/>
              <a:p>
                <a:pPr defTabSz="914377">
                  <a:defRPr/>
                </a:pPr>
                <a:r>
                  <a:rPr lang="fr-FR" altLang="ko-KR" sz="1200" b="1" dirty="0">
                    <a:latin typeface="Arial"/>
                    <a:ea typeface="Arial Unicode MS"/>
                    <a:cs typeface="Arial" pitchFamily="34" charset="0"/>
                  </a:rPr>
                  <a:t>Faciliter </a:t>
                </a:r>
                <a:r>
                  <a:rPr lang="fr-FR" altLang="ko-KR" sz="1200" b="1" dirty="0">
                    <a:solidFill>
                      <a:srgbClr val="4159A4"/>
                    </a:solidFill>
                    <a:latin typeface="Arial"/>
                    <a:ea typeface="Arial Unicode MS"/>
                    <a:cs typeface="Arial" pitchFamily="34" charset="0"/>
                  </a:rPr>
                  <a:t>l’accès à l’information </a:t>
                </a:r>
                <a:r>
                  <a:rPr lang="fr-FR" altLang="ko-KR" sz="1200" b="1" dirty="0">
                    <a:latin typeface="Arial"/>
                    <a:ea typeface="Arial Unicode MS"/>
                    <a:cs typeface="Arial" pitchFamily="34" charset="0"/>
                  </a:rPr>
                  <a:t>par les utilisateurs (le site actuel contient beaucoup d’information destinée à plusieurs cibles)</a:t>
                </a:r>
              </a:p>
            </p:txBody>
          </p:sp>
        </p:grpSp>
        <p:sp>
          <p:nvSpPr>
            <p:cNvPr id="64" name="TextBox 37">
              <a:extLst>
                <a:ext uri="{FF2B5EF4-FFF2-40B4-BE49-F238E27FC236}">
                  <a16:creationId xmlns:a16="http://schemas.microsoft.com/office/drawing/2014/main" id="{8CED81C3-44CF-4209-B4B6-9AC0950DAF2A}"/>
                </a:ext>
              </a:extLst>
            </p:cNvPr>
            <p:cNvSpPr txBox="1"/>
            <p:nvPr/>
          </p:nvSpPr>
          <p:spPr>
            <a:xfrm>
              <a:off x="2576440" y="4616450"/>
              <a:ext cx="4735784" cy="461665"/>
            </a:xfrm>
            <a:prstGeom prst="rect">
              <a:avLst/>
            </a:prstGeom>
            <a:solidFill>
              <a:srgbClr val="4159A4"/>
            </a:solidFill>
          </p:spPr>
          <p:txBody>
            <a:bodyPr wrap="square" lIns="108000" rIns="108000" rtlCol="0">
              <a:spAutoFit/>
            </a:bodyPr>
            <a:lstStyle/>
            <a:p>
              <a:pPr defTabSz="914377">
                <a:defRPr/>
              </a:pPr>
              <a:r>
                <a:rPr lang="fr-FR" altLang="ko-KR" sz="1200" b="1" dirty="0">
                  <a:solidFill>
                    <a:prstClr val="white"/>
                  </a:solidFill>
                  <a:latin typeface="Arial"/>
                  <a:ea typeface="Arial Unicode MS"/>
                  <a:cs typeface="Arial" pitchFamily="34" charset="0"/>
                </a:rPr>
                <a:t>l’image de marque de la NARSA en tant qu’institution de communication et de services </a:t>
              </a:r>
            </a:p>
          </p:txBody>
        </p:sp>
        <p:sp>
          <p:nvSpPr>
            <p:cNvPr id="65" name="TextBox 38">
              <a:extLst>
                <a:ext uri="{FF2B5EF4-FFF2-40B4-BE49-F238E27FC236}">
                  <a16:creationId xmlns:a16="http://schemas.microsoft.com/office/drawing/2014/main" id="{0C53C3FB-B12F-4AD4-A2B7-BDA3768EA5B2}"/>
                </a:ext>
              </a:extLst>
            </p:cNvPr>
            <p:cNvSpPr txBox="1"/>
            <p:nvPr/>
          </p:nvSpPr>
          <p:spPr>
            <a:xfrm>
              <a:off x="2576440" y="5490850"/>
              <a:ext cx="4735784" cy="461665"/>
            </a:xfrm>
            <a:prstGeom prst="rect">
              <a:avLst/>
            </a:prstGeom>
            <a:solidFill>
              <a:srgbClr val="FCD400"/>
            </a:solidFill>
          </p:spPr>
          <p:txBody>
            <a:bodyPr wrap="square" lIns="108000" rIns="108000" rtlCol="0">
              <a:spAutoFit/>
            </a:bodyPr>
            <a:lstStyle/>
            <a:p>
              <a:pPr defTabSz="914377">
                <a:defRPr/>
              </a:pPr>
              <a:r>
                <a:rPr lang="fr-FR" altLang="ko-KR" sz="1200" b="1" dirty="0">
                  <a:cs typeface="Arial" pitchFamily="34" charset="0"/>
                </a:rPr>
                <a:t>Mettre les usagers en </a:t>
              </a:r>
              <a:r>
                <a:rPr lang="fr-FR" altLang="ko-KR" sz="1200" b="1" dirty="0">
                  <a:solidFill>
                    <a:srgbClr val="4159A4"/>
                  </a:solidFill>
                  <a:cs typeface="Arial" pitchFamily="34" charset="0"/>
                </a:rPr>
                <a:t>lien direct </a:t>
              </a:r>
              <a:r>
                <a:rPr lang="fr-FR" altLang="ko-KR" sz="1200" b="1" dirty="0">
                  <a:cs typeface="Arial" pitchFamily="34" charset="0"/>
                </a:rPr>
                <a:t>avec les responsables de la NARSA grâce à la plateforme ASK NARSA.</a:t>
              </a:r>
            </a:p>
          </p:txBody>
        </p:sp>
        <p:sp>
          <p:nvSpPr>
            <p:cNvPr id="66" name="TextBox 40">
              <a:extLst>
                <a:ext uri="{FF2B5EF4-FFF2-40B4-BE49-F238E27FC236}">
                  <a16:creationId xmlns:a16="http://schemas.microsoft.com/office/drawing/2014/main" id="{8CED81C3-44CF-4209-B4B6-9AC0950DAF2A}"/>
                </a:ext>
              </a:extLst>
            </p:cNvPr>
            <p:cNvSpPr txBox="1"/>
            <p:nvPr/>
          </p:nvSpPr>
          <p:spPr>
            <a:xfrm>
              <a:off x="2595536" y="1950844"/>
              <a:ext cx="4735784" cy="523220"/>
            </a:xfrm>
            <a:prstGeom prst="rect">
              <a:avLst/>
            </a:prstGeom>
            <a:solidFill>
              <a:srgbClr val="FCD400"/>
            </a:solidFill>
          </p:spPr>
          <p:txBody>
            <a:bodyPr wrap="square" lIns="108000" rIns="108000" rtlCol="0">
              <a:spAutoFit/>
            </a:bodyPr>
            <a:lstStyle/>
            <a:p>
              <a:pPr defTabSz="914377">
                <a:defRPr/>
              </a:pPr>
              <a:endParaRPr lang="fr-FR" altLang="ko-KR" sz="800" b="1" dirty="0">
                <a:solidFill>
                  <a:prstClr val="black"/>
                </a:solidFill>
                <a:latin typeface="Arial"/>
                <a:ea typeface="Arial Unicode MS"/>
                <a:cs typeface="Arial" pitchFamily="34" charset="0"/>
              </a:endParaRPr>
            </a:p>
            <a:p>
              <a:pPr defTabSz="914377">
                <a:defRPr/>
              </a:pPr>
              <a:r>
                <a:rPr lang="fr-FR" altLang="ko-KR" sz="1200" b="1" dirty="0">
                  <a:solidFill>
                    <a:srgbClr val="4159A4"/>
                  </a:solidFill>
                  <a:latin typeface="Arial"/>
                  <a:ea typeface="Arial Unicode MS"/>
                  <a:cs typeface="Arial" pitchFamily="34" charset="0"/>
                </a:rPr>
                <a:t>Centraliser</a:t>
              </a:r>
              <a:r>
                <a:rPr lang="fr-FR" altLang="ko-KR" sz="1200" b="1" dirty="0">
                  <a:latin typeface="Arial"/>
                  <a:ea typeface="Arial Unicode MS"/>
                  <a:cs typeface="Arial" pitchFamily="34" charset="0"/>
                </a:rPr>
                <a:t> les informations de chaque domaine</a:t>
              </a:r>
            </a:p>
            <a:p>
              <a:pPr defTabSz="914377">
                <a:defRPr/>
              </a:pPr>
              <a:endParaRPr lang="fr-FR" altLang="ko-KR" sz="800" b="1" dirty="0">
                <a:solidFill>
                  <a:prstClr val="white"/>
                </a:solidFill>
                <a:latin typeface="Arial"/>
                <a:ea typeface="Arial Unicode MS"/>
                <a:cs typeface="Arial" pitchFamily="34" charset="0"/>
              </a:endParaRPr>
            </a:p>
          </p:txBody>
        </p:sp>
        <p:sp>
          <p:nvSpPr>
            <p:cNvPr id="67" name="Freeform 32">
              <a:extLst>
                <a:ext uri="{FF2B5EF4-FFF2-40B4-BE49-F238E27FC236}">
                  <a16:creationId xmlns:a16="http://schemas.microsoft.com/office/drawing/2014/main" id="{9C5A04AA-A50B-457A-A783-D941E78BCCDF}"/>
                </a:ext>
              </a:extLst>
            </p:cNvPr>
            <p:cNvSpPr/>
            <p:nvPr/>
          </p:nvSpPr>
          <p:spPr>
            <a:xfrm>
              <a:off x="7980293" y="3102972"/>
              <a:ext cx="396000" cy="360000"/>
            </a:xfrm>
            <a:custGeom>
              <a:avLst/>
              <a:gdLst/>
              <a:ahLst/>
              <a:cxnLst/>
              <a:rect l="l" t="t" r="r" b="b"/>
              <a:pathLst>
                <a:path w="3210745" h="2940925">
                  <a:moveTo>
                    <a:pt x="340528" y="2526682"/>
                  </a:moveTo>
                  <a:cubicBezTo>
                    <a:pt x="280875" y="2526682"/>
                    <a:pt x="232516" y="2575041"/>
                    <a:pt x="232516" y="2634694"/>
                  </a:cubicBezTo>
                  <a:cubicBezTo>
                    <a:pt x="232516" y="2694347"/>
                    <a:pt x="280875" y="2742706"/>
                    <a:pt x="340528" y="2742706"/>
                  </a:cubicBezTo>
                  <a:cubicBezTo>
                    <a:pt x="400181" y="2742706"/>
                    <a:pt x="448540" y="2694347"/>
                    <a:pt x="448540" y="2634694"/>
                  </a:cubicBezTo>
                  <a:cubicBezTo>
                    <a:pt x="448540" y="2575041"/>
                    <a:pt x="400181" y="2526682"/>
                    <a:pt x="340528" y="2526682"/>
                  </a:cubicBezTo>
                  <a:close/>
                  <a:moveTo>
                    <a:pt x="1821636" y="152"/>
                  </a:moveTo>
                  <a:cubicBezTo>
                    <a:pt x="1920275" y="-4956"/>
                    <a:pt x="2051571" y="119306"/>
                    <a:pt x="2102482" y="278737"/>
                  </a:cubicBezTo>
                  <a:cubicBezTo>
                    <a:pt x="2192513" y="649582"/>
                    <a:pt x="1575154" y="1213351"/>
                    <a:pt x="2006019" y="1236931"/>
                  </a:cubicBezTo>
                  <a:cubicBezTo>
                    <a:pt x="2310412" y="1206920"/>
                    <a:pt x="2473326" y="1176910"/>
                    <a:pt x="2803442" y="1166192"/>
                  </a:cubicBezTo>
                  <a:cubicBezTo>
                    <a:pt x="3103547" y="1170479"/>
                    <a:pt x="3152850" y="1361260"/>
                    <a:pt x="3002798" y="1564903"/>
                  </a:cubicBezTo>
                  <a:cubicBezTo>
                    <a:pt x="3191435" y="1575621"/>
                    <a:pt x="3347919" y="1869296"/>
                    <a:pt x="3022090" y="1989338"/>
                  </a:cubicBezTo>
                  <a:cubicBezTo>
                    <a:pt x="3332913" y="2182262"/>
                    <a:pt x="3154994" y="2426634"/>
                    <a:pt x="2977074" y="2471650"/>
                  </a:cubicBezTo>
                  <a:cubicBezTo>
                    <a:pt x="3127127" y="2606697"/>
                    <a:pt x="3109978" y="2709590"/>
                    <a:pt x="2957782" y="2793191"/>
                  </a:cubicBezTo>
                  <a:cubicBezTo>
                    <a:pt x="2620164" y="2932526"/>
                    <a:pt x="1747715" y="3028988"/>
                    <a:pt x="1253613" y="2818914"/>
                  </a:cubicBezTo>
                  <a:cubicBezTo>
                    <a:pt x="1018944" y="2738561"/>
                    <a:pt x="869067" y="2654318"/>
                    <a:pt x="700568" y="2648441"/>
                  </a:cubicBezTo>
                  <a:lnTo>
                    <a:pt x="700568" y="2796242"/>
                  </a:lnTo>
                  <a:cubicBezTo>
                    <a:pt x="700568" y="2860729"/>
                    <a:pt x="648291" y="2913006"/>
                    <a:pt x="583804" y="2913006"/>
                  </a:cubicBezTo>
                  <a:lnTo>
                    <a:pt x="0" y="2913006"/>
                  </a:lnTo>
                  <a:lnTo>
                    <a:pt x="0" y="1400838"/>
                  </a:lnTo>
                  <a:lnTo>
                    <a:pt x="583804" y="1400838"/>
                  </a:lnTo>
                  <a:cubicBezTo>
                    <a:pt x="648291" y="1400838"/>
                    <a:pt x="700568" y="1453115"/>
                    <a:pt x="700568" y="1517602"/>
                  </a:cubicBezTo>
                  <a:lnTo>
                    <a:pt x="700568" y="1571674"/>
                  </a:lnTo>
                  <a:cubicBezTo>
                    <a:pt x="721537" y="1568378"/>
                    <a:pt x="746526" y="1559634"/>
                    <a:pt x="784162" y="1539180"/>
                  </a:cubicBezTo>
                  <a:cubicBezTo>
                    <a:pt x="831321" y="1421281"/>
                    <a:pt x="890271" y="1323747"/>
                    <a:pt x="1034964" y="1191915"/>
                  </a:cubicBezTo>
                  <a:cubicBezTo>
                    <a:pt x="1257900" y="851081"/>
                    <a:pt x="1628744" y="677449"/>
                    <a:pt x="1703770" y="169413"/>
                  </a:cubicBezTo>
                  <a:cubicBezTo>
                    <a:pt x="1715024" y="52855"/>
                    <a:pt x="1762452" y="3217"/>
                    <a:pt x="1821636" y="152"/>
                  </a:cubicBezTo>
                  <a:close/>
                </a:path>
              </a:pathLst>
            </a:custGeom>
            <a:solidFill>
              <a:srgbClr val="FED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/>
              <a:endParaRPr lang="ko-KR" altLang="en-US" sz="2700">
                <a:solidFill>
                  <a:prstClr val="white"/>
                </a:solidFill>
                <a:latin typeface="Calibri"/>
                <a:ea typeface="맑은 고딕" panose="020B0503020000020004" pitchFamily="34" charset="-127"/>
              </a:endParaRPr>
            </a:p>
          </p:txBody>
        </p:sp>
        <p:sp>
          <p:nvSpPr>
            <p:cNvPr id="68" name="Freeform 32">
              <a:extLst>
                <a:ext uri="{FF2B5EF4-FFF2-40B4-BE49-F238E27FC236}">
                  <a16:creationId xmlns:a16="http://schemas.microsoft.com/office/drawing/2014/main" id="{9C5A04AA-A50B-457A-A783-D941E78BCCDF}"/>
                </a:ext>
              </a:extLst>
            </p:cNvPr>
            <p:cNvSpPr/>
            <p:nvPr/>
          </p:nvSpPr>
          <p:spPr>
            <a:xfrm>
              <a:off x="1868685" y="2913751"/>
              <a:ext cx="396000" cy="360000"/>
            </a:xfrm>
            <a:custGeom>
              <a:avLst/>
              <a:gdLst/>
              <a:ahLst/>
              <a:cxnLst/>
              <a:rect l="l" t="t" r="r" b="b"/>
              <a:pathLst>
                <a:path w="3210745" h="2940925">
                  <a:moveTo>
                    <a:pt x="340528" y="2526682"/>
                  </a:moveTo>
                  <a:cubicBezTo>
                    <a:pt x="280875" y="2526682"/>
                    <a:pt x="232516" y="2575041"/>
                    <a:pt x="232516" y="2634694"/>
                  </a:cubicBezTo>
                  <a:cubicBezTo>
                    <a:pt x="232516" y="2694347"/>
                    <a:pt x="280875" y="2742706"/>
                    <a:pt x="340528" y="2742706"/>
                  </a:cubicBezTo>
                  <a:cubicBezTo>
                    <a:pt x="400181" y="2742706"/>
                    <a:pt x="448540" y="2694347"/>
                    <a:pt x="448540" y="2634694"/>
                  </a:cubicBezTo>
                  <a:cubicBezTo>
                    <a:pt x="448540" y="2575041"/>
                    <a:pt x="400181" y="2526682"/>
                    <a:pt x="340528" y="2526682"/>
                  </a:cubicBezTo>
                  <a:close/>
                  <a:moveTo>
                    <a:pt x="1821636" y="152"/>
                  </a:moveTo>
                  <a:cubicBezTo>
                    <a:pt x="1920275" y="-4956"/>
                    <a:pt x="2051571" y="119306"/>
                    <a:pt x="2102482" y="278737"/>
                  </a:cubicBezTo>
                  <a:cubicBezTo>
                    <a:pt x="2192513" y="649582"/>
                    <a:pt x="1575154" y="1213351"/>
                    <a:pt x="2006019" y="1236931"/>
                  </a:cubicBezTo>
                  <a:cubicBezTo>
                    <a:pt x="2310412" y="1206920"/>
                    <a:pt x="2473326" y="1176910"/>
                    <a:pt x="2803442" y="1166192"/>
                  </a:cubicBezTo>
                  <a:cubicBezTo>
                    <a:pt x="3103547" y="1170479"/>
                    <a:pt x="3152850" y="1361260"/>
                    <a:pt x="3002798" y="1564903"/>
                  </a:cubicBezTo>
                  <a:cubicBezTo>
                    <a:pt x="3191435" y="1575621"/>
                    <a:pt x="3347919" y="1869296"/>
                    <a:pt x="3022090" y="1989338"/>
                  </a:cubicBezTo>
                  <a:cubicBezTo>
                    <a:pt x="3332913" y="2182262"/>
                    <a:pt x="3154994" y="2426634"/>
                    <a:pt x="2977074" y="2471650"/>
                  </a:cubicBezTo>
                  <a:cubicBezTo>
                    <a:pt x="3127127" y="2606697"/>
                    <a:pt x="3109978" y="2709590"/>
                    <a:pt x="2957782" y="2793191"/>
                  </a:cubicBezTo>
                  <a:cubicBezTo>
                    <a:pt x="2620164" y="2932526"/>
                    <a:pt x="1747715" y="3028988"/>
                    <a:pt x="1253613" y="2818914"/>
                  </a:cubicBezTo>
                  <a:cubicBezTo>
                    <a:pt x="1018944" y="2738561"/>
                    <a:pt x="869067" y="2654318"/>
                    <a:pt x="700568" y="2648441"/>
                  </a:cubicBezTo>
                  <a:lnTo>
                    <a:pt x="700568" y="2796242"/>
                  </a:lnTo>
                  <a:cubicBezTo>
                    <a:pt x="700568" y="2860729"/>
                    <a:pt x="648291" y="2913006"/>
                    <a:pt x="583804" y="2913006"/>
                  </a:cubicBezTo>
                  <a:lnTo>
                    <a:pt x="0" y="2913006"/>
                  </a:lnTo>
                  <a:lnTo>
                    <a:pt x="0" y="1400838"/>
                  </a:lnTo>
                  <a:lnTo>
                    <a:pt x="583804" y="1400838"/>
                  </a:lnTo>
                  <a:cubicBezTo>
                    <a:pt x="648291" y="1400838"/>
                    <a:pt x="700568" y="1453115"/>
                    <a:pt x="700568" y="1517602"/>
                  </a:cubicBezTo>
                  <a:lnTo>
                    <a:pt x="700568" y="1571674"/>
                  </a:lnTo>
                  <a:cubicBezTo>
                    <a:pt x="721537" y="1568378"/>
                    <a:pt x="746526" y="1559634"/>
                    <a:pt x="784162" y="1539180"/>
                  </a:cubicBezTo>
                  <a:cubicBezTo>
                    <a:pt x="831321" y="1421281"/>
                    <a:pt x="890271" y="1323747"/>
                    <a:pt x="1034964" y="1191915"/>
                  </a:cubicBezTo>
                  <a:cubicBezTo>
                    <a:pt x="1257900" y="851081"/>
                    <a:pt x="1628744" y="677449"/>
                    <a:pt x="1703770" y="169413"/>
                  </a:cubicBezTo>
                  <a:cubicBezTo>
                    <a:pt x="1715024" y="52855"/>
                    <a:pt x="1762452" y="3217"/>
                    <a:pt x="1821636" y="1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377"/>
              <a:endParaRPr lang="ko-KR" altLang="en-US" sz="2700">
                <a:solidFill>
                  <a:prstClr val="white"/>
                </a:solidFill>
                <a:latin typeface="Calibri"/>
                <a:ea typeface="맑은 고딕" panose="020B0503020000020004" pitchFamily="34" charset="-127"/>
              </a:endParaRPr>
            </a:p>
          </p:txBody>
        </p:sp>
        <p:grpSp>
          <p:nvGrpSpPr>
            <p:cNvPr id="69" name="Group 43">
              <a:extLst>
                <a:ext uri="{FF2B5EF4-FFF2-40B4-BE49-F238E27FC236}">
                  <a16:creationId xmlns:a16="http://schemas.microsoft.com/office/drawing/2014/main" id="{5CD557F6-61AF-4340-9947-204E18DDF0F4}"/>
                </a:ext>
              </a:extLst>
            </p:cNvPr>
            <p:cNvGrpSpPr/>
            <p:nvPr/>
          </p:nvGrpSpPr>
          <p:grpSpPr>
            <a:xfrm>
              <a:off x="9053528" y="3937232"/>
              <a:ext cx="547200" cy="867600"/>
              <a:chOff x="7102492" y="3580595"/>
              <a:chExt cx="547200" cy="1049286"/>
            </a:xfrm>
            <a:solidFill>
              <a:srgbClr val="FED000"/>
            </a:solidFill>
          </p:grpSpPr>
          <p:sp>
            <p:nvSpPr>
              <p:cNvPr id="70" name="Oval 7">
                <a:extLst>
                  <a:ext uri="{FF2B5EF4-FFF2-40B4-BE49-F238E27FC236}">
                    <a16:creationId xmlns:a16="http://schemas.microsoft.com/office/drawing/2014/main" id="{7A351287-4ED8-45E3-BB55-A5127CC3BC5C}"/>
                  </a:ext>
                </a:extLst>
              </p:cNvPr>
              <p:cNvSpPr/>
              <p:nvPr/>
            </p:nvSpPr>
            <p:spPr>
              <a:xfrm>
                <a:off x="7102492" y="3580595"/>
                <a:ext cx="547200" cy="1049286"/>
              </a:xfrm>
              <a:custGeom>
                <a:avLst/>
                <a:gdLst/>
                <a:ahLst/>
                <a:cxnLst/>
                <a:rect l="l" t="t" r="r" b="b"/>
                <a:pathLst>
                  <a:path w="1093501" h="1741553">
                    <a:moveTo>
                      <a:pt x="422037" y="0"/>
                    </a:moveTo>
                    <a:lnTo>
                      <a:pt x="422037" y="630979"/>
                    </a:lnTo>
                    <a:cubicBezTo>
                      <a:pt x="422037" y="680563"/>
                      <a:pt x="455258" y="722388"/>
                      <a:pt x="500795" y="734926"/>
                    </a:cubicBezTo>
                    <a:lnTo>
                      <a:pt x="500795" y="955639"/>
                    </a:lnTo>
                    <a:cubicBezTo>
                      <a:pt x="500795" y="982077"/>
                      <a:pt x="522227" y="1003509"/>
                      <a:pt x="548664" y="1003509"/>
                    </a:cubicBezTo>
                    <a:cubicBezTo>
                      <a:pt x="575102" y="1003509"/>
                      <a:pt x="596533" y="982077"/>
                      <a:pt x="596533" y="955639"/>
                    </a:cubicBezTo>
                    <a:lnTo>
                      <a:pt x="596533" y="735077"/>
                    </a:lnTo>
                    <a:cubicBezTo>
                      <a:pt x="642317" y="722690"/>
                      <a:pt x="675778" y="680742"/>
                      <a:pt x="675778" y="630979"/>
                    </a:cubicBezTo>
                    <a:lnTo>
                      <a:pt x="675778" y="658"/>
                    </a:lnTo>
                    <a:cubicBezTo>
                      <a:pt x="911634" y="31647"/>
                      <a:pt x="1093500" y="233580"/>
                      <a:pt x="1093500" y="477990"/>
                    </a:cubicBezTo>
                    <a:lnTo>
                      <a:pt x="1093500" y="780133"/>
                    </a:lnTo>
                    <a:lnTo>
                      <a:pt x="1093501" y="780133"/>
                    </a:lnTo>
                    <a:lnTo>
                      <a:pt x="1093501" y="1260843"/>
                    </a:lnTo>
                    <a:cubicBezTo>
                      <a:pt x="1093501" y="1526332"/>
                      <a:pt x="878279" y="1741553"/>
                      <a:pt x="612791" y="1741553"/>
                    </a:cubicBezTo>
                    <a:lnTo>
                      <a:pt x="480710" y="1741553"/>
                    </a:lnTo>
                    <a:cubicBezTo>
                      <a:pt x="215222" y="1741553"/>
                      <a:pt x="1" y="1526332"/>
                      <a:pt x="1" y="1260843"/>
                    </a:cubicBezTo>
                    <a:lnTo>
                      <a:pt x="1" y="787709"/>
                    </a:lnTo>
                    <a:lnTo>
                      <a:pt x="0" y="787709"/>
                    </a:lnTo>
                    <a:lnTo>
                      <a:pt x="0" y="477990"/>
                    </a:lnTo>
                    <a:cubicBezTo>
                      <a:pt x="0" y="232085"/>
                      <a:pt x="184097" y="29180"/>
                      <a:pt x="42203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64">
                  <a:defRPr/>
                </a:pPr>
                <a:endParaRPr lang="ko-KR" altLang="en-US" sz="2701" dirty="0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  <p:sp>
            <p:nvSpPr>
              <p:cNvPr id="71" name="Rounded Rectangle 108">
                <a:extLst>
                  <a:ext uri="{FF2B5EF4-FFF2-40B4-BE49-F238E27FC236}">
                    <a16:creationId xmlns:a16="http://schemas.microsoft.com/office/drawing/2014/main" id="{94FA350F-F5D7-4D60-A490-4A8B68FE338F}"/>
                  </a:ext>
                </a:extLst>
              </p:cNvPr>
              <p:cNvSpPr/>
              <p:nvPr/>
            </p:nvSpPr>
            <p:spPr>
              <a:xfrm>
                <a:off x="7309131" y="3809649"/>
                <a:ext cx="210986" cy="457200"/>
              </a:xfrm>
              <a:prstGeom prst="roundRect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264">
                  <a:defRPr/>
                </a:pPr>
                <a:endParaRPr lang="ko-KR" altLang="en-US" sz="2701">
                  <a:solidFill>
                    <a:prstClr val="white"/>
                  </a:solidFill>
                  <a:latin typeface="Arial"/>
                  <a:ea typeface="Arial Unicode MS"/>
                </a:endParaRPr>
              </a:p>
            </p:txBody>
          </p:sp>
        </p:grpSp>
        <p:sp>
          <p:nvSpPr>
            <p:cNvPr id="72" name="Freeform 62">
              <a:extLst>
                <a:ext uri="{FF2B5EF4-FFF2-40B4-BE49-F238E27FC236}">
                  <a16:creationId xmlns:a16="http://schemas.microsoft.com/office/drawing/2014/main" id="{D2FB96AD-1BCC-45F2-920E-ED2405C1407D}"/>
                </a:ext>
              </a:extLst>
            </p:cNvPr>
            <p:cNvSpPr/>
            <p:nvPr/>
          </p:nvSpPr>
          <p:spPr>
            <a:xfrm>
              <a:off x="8969268" y="4254076"/>
              <a:ext cx="849600" cy="1155600"/>
            </a:xfrm>
            <a:custGeom>
              <a:avLst/>
              <a:gdLst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675180 h 2070201"/>
                <a:gd name="connsiteX3" fmla="*/ 687628 w 1404518"/>
                <a:gd name="connsiteY3" fmla="*/ 2070201 h 2070201"/>
                <a:gd name="connsiteX4" fmla="*/ 1302105 w 1404518"/>
                <a:gd name="connsiteY4" fmla="*/ 2018995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675180 h 2070201"/>
                <a:gd name="connsiteX3" fmla="*/ 687628 w 1404518"/>
                <a:gd name="connsiteY3" fmla="*/ 2070201 h 2070201"/>
                <a:gd name="connsiteX4" fmla="*/ 1302105 w 1404518"/>
                <a:gd name="connsiteY4" fmla="*/ 2018995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741017 h 2070201"/>
                <a:gd name="connsiteX3" fmla="*/ 687628 w 1404518"/>
                <a:gd name="connsiteY3" fmla="*/ 2070201 h 2070201"/>
                <a:gd name="connsiteX4" fmla="*/ 1302105 w 1404518"/>
                <a:gd name="connsiteY4" fmla="*/ 2018995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741017 h 2070201"/>
                <a:gd name="connsiteX3" fmla="*/ 687628 w 1404518"/>
                <a:gd name="connsiteY3" fmla="*/ 2070201 h 2070201"/>
                <a:gd name="connsiteX4" fmla="*/ 1302105 w 1404518"/>
                <a:gd name="connsiteY4" fmla="*/ 2018995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741017 h 2070201"/>
                <a:gd name="connsiteX3" fmla="*/ 687628 w 1404518"/>
                <a:gd name="connsiteY3" fmla="*/ 2070201 h 2070201"/>
                <a:gd name="connsiteX4" fmla="*/ 1302105 w 1404518"/>
                <a:gd name="connsiteY4" fmla="*/ 2018995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741017 h 2070201"/>
                <a:gd name="connsiteX3" fmla="*/ 687628 w 1404518"/>
                <a:gd name="connsiteY3" fmla="*/ 2070201 h 2070201"/>
                <a:gd name="connsiteX4" fmla="*/ 1331366 w 1404518"/>
                <a:gd name="connsiteY4" fmla="*/ 2055571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741017 h 2070201"/>
                <a:gd name="connsiteX3" fmla="*/ 687628 w 1404518"/>
                <a:gd name="connsiteY3" fmla="*/ 2070201 h 2070201"/>
                <a:gd name="connsiteX4" fmla="*/ 1294790 w 1404518"/>
                <a:gd name="connsiteY4" fmla="*/ 2055571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04518"/>
                <a:gd name="connsiteY0" fmla="*/ 1053388 h 2070201"/>
                <a:gd name="connsiteX1" fmla="*/ 124358 w 1404518"/>
                <a:gd name="connsiteY1" fmla="*/ 1382572 h 2070201"/>
                <a:gd name="connsiteX2" fmla="*/ 292608 w 1404518"/>
                <a:gd name="connsiteY2" fmla="*/ 1741017 h 2070201"/>
                <a:gd name="connsiteX3" fmla="*/ 687628 w 1404518"/>
                <a:gd name="connsiteY3" fmla="*/ 2070201 h 2070201"/>
                <a:gd name="connsiteX4" fmla="*/ 1294790 w 1404518"/>
                <a:gd name="connsiteY4" fmla="*/ 2055571 h 2070201"/>
                <a:gd name="connsiteX5" fmla="*/ 1404518 w 1404518"/>
                <a:gd name="connsiteY5" fmla="*/ 1155801 h 2070201"/>
                <a:gd name="connsiteX6" fmla="*/ 1221638 w 1404518"/>
                <a:gd name="connsiteY6" fmla="*/ 768096 h 2070201"/>
                <a:gd name="connsiteX7" fmla="*/ 1177747 w 1404518"/>
                <a:gd name="connsiteY7" fmla="*/ 965606 h 2070201"/>
                <a:gd name="connsiteX8" fmla="*/ 1024128 w 1404518"/>
                <a:gd name="connsiteY8" fmla="*/ 694944 h 2070201"/>
                <a:gd name="connsiteX9" fmla="*/ 921715 w 1404518"/>
                <a:gd name="connsiteY9" fmla="*/ 929030 h 2070201"/>
                <a:gd name="connsiteX10" fmla="*/ 877824 w 1404518"/>
                <a:gd name="connsiteY10" fmla="*/ 629107 h 2070201"/>
                <a:gd name="connsiteX11" fmla="*/ 709574 w 1404518"/>
                <a:gd name="connsiteY11" fmla="*/ 936345 h 2070201"/>
                <a:gd name="connsiteX12" fmla="*/ 526694 w 1404518"/>
                <a:gd name="connsiteY12" fmla="*/ 0 h 2070201"/>
                <a:gd name="connsiteX13" fmla="*/ 468172 w 1404518"/>
                <a:gd name="connsiteY13" fmla="*/ 1338681 h 2070201"/>
                <a:gd name="connsiteX14" fmla="*/ 321868 w 1404518"/>
                <a:gd name="connsiteY14" fmla="*/ 1287475 h 2070201"/>
                <a:gd name="connsiteX15" fmla="*/ 0 w 1404518"/>
                <a:gd name="connsiteY15" fmla="*/ 1053388 h 2070201"/>
                <a:gd name="connsiteX0" fmla="*/ 0 w 1413093"/>
                <a:gd name="connsiteY0" fmla="*/ 1053388 h 2070201"/>
                <a:gd name="connsiteX1" fmla="*/ 124358 w 1413093"/>
                <a:gd name="connsiteY1" fmla="*/ 1382572 h 2070201"/>
                <a:gd name="connsiteX2" fmla="*/ 292608 w 1413093"/>
                <a:gd name="connsiteY2" fmla="*/ 1741017 h 2070201"/>
                <a:gd name="connsiteX3" fmla="*/ 687628 w 1413093"/>
                <a:gd name="connsiteY3" fmla="*/ 2070201 h 2070201"/>
                <a:gd name="connsiteX4" fmla="*/ 1294790 w 1413093"/>
                <a:gd name="connsiteY4" fmla="*/ 2055571 h 2070201"/>
                <a:gd name="connsiteX5" fmla="*/ 1404518 w 1413093"/>
                <a:gd name="connsiteY5" fmla="*/ 1155801 h 2070201"/>
                <a:gd name="connsiteX6" fmla="*/ 1221638 w 1413093"/>
                <a:gd name="connsiteY6" fmla="*/ 768096 h 2070201"/>
                <a:gd name="connsiteX7" fmla="*/ 1177747 w 1413093"/>
                <a:gd name="connsiteY7" fmla="*/ 965606 h 2070201"/>
                <a:gd name="connsiteX8" fmla="*/ 1024128 w 1413093"/>
                <a:gd name="connsiteY8" fmla="*/ 694944 h 2070201"/>
                <a:gd name="connsiteX9" fmla="*/ 921715 w 1413093"/>
                <a:gd name="connsiteY9" fmla="*/ 929030 h 2070201"/>
                <a:gd name="connsiteX10" fmla="*/ 877824 w 1413093"/>
                <a:gd name="connsiteY10" fmla="*/ 629107 h 2070201"/>
                <a:gd name="connsiteX11" fmla="*/ 709574 w 1413093"/>
                <a:gd name="connsiteY11" fmla="*/ 936345 h 2070201"/>
                <a:gd name="connsiteX12" fmla="*/ 526694 w 1413093"/>
                <a:gd name="connsiteY12" fmla="*/ 0 h 2070201"/>
                <a:gd name="connsiteX13" fmla="*/ 468172 w 1413093"/>
                <a:gd name="connsiteY13" fmla="*/ 1338681 h 2070201"/>
                <a:gd name="connsiteX14" fmla="*/ 321868 w 1413093"/>
                <a:gd name="connsiteY14" fmla="*/ 1287475 h 2070201"/>
                <a:gd name="connsiteX15" fmla="*/ 0 w 1413093"/>
                <a:gd name="connsiteY15" fmla="*/ 1053388 h 2070201"/>
                <a:gd name="connsiteX0" fmla="*/ 0 w 1413093"/>
                <a:gd name="connsiteY0" fmla="*/ 1053388 h 2070201"/>
                <a:gd name="connsiteX1" fmla="*/ 124358 w 1413093"/>
                <a:gd name="connsiteY1" fmla="*/ 1382572 h 2070201"/>
                <a:gd name="connsiteX2" fmla="*/ 292608 w 1413093"/>
                <a:gd name="connsiteY2" fmla="*/ 1741017 h 2070201"/>
                <a:gd name="connsiteX3" fmla="*/ 687628 w 1413093"/>
                <a:gd name="connsiteY3" fmla="*/ 2070201 h 2070201"/>
                <a:gd name="connsiteX4" fmla="*/ 1294790 w 1413093"/>
                <a:gd name="connsiteY4" fmla="*/ 2055571 h 2070201"/>
                <a:gd name="connsiteX5" fmla="*/ 1404518 w 1413093"/>
                <a:gd name="connsiteY5" fmla="*/ 1155801 h 2070201"/>
                <a:gd name="connsiteX6" fmla="*/ 1221638 w 1413093"/>
                <a:gd name="connsiteY6" fmla="*/ 768096 h 2070201"/>
                <a:gd name="connsiteX7" fmla="*/ 1177747 w 1413093"/>
                <a:gd name="connsiteY7" fmla="*/ 965606 h 2070201"/>
                <a:gd name="connsiteX8" fmla="*/ 1024128 w 1413093"/>
                <a:gd name="connsiteY8" fmla="*/ 694944 h 2070201"/>
                <a:gd name="connsiteX9" fmla="*/ 921715 w 1413093"/>
                <a:gd name="connsiteY9" fmla="*/ 929030 h 2070201"/>
                <a:gd name="connsiteX10" fmla="*/ 877824 w 1413093"/>
                <a:gd name="connsiteY10" fmla="*/ 629107 h 2070201"/>
                <a:gd name="connsiteX11" fmla="*/ 709574 w 1413093"/>
                <a:gd name="connsiteY11" fmla="*/ 936345 h 2070201"/>
                <a:gd name="connsiteX12" fmla="*/ 526694 w 1413093"/>
                <a:gd name="connsiteY12" fmla="*/ 0 h 2070201"/>
                <a:gd name="connsiteX13" fmla="*/ 468172 w 1413093"/>
                <a:gd name="connsiteY13" fmla="*/ 1338681 h 2070201"/>
                <a:gd name="connsiteX14" fmla="*/ 321868 w 1413093"/>
                <a:gd name="connsiteY14" fmla="*/ 1287475 h 2070201"/>
                <a:gd name="connsiteX15" fmla="*/ 0 w 1413093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1024128 w 1404608"/>
                <a:gd name="connsiteY8" fmla="*/ 694944 h 2070201"/>
                <a:gd name="connsiteX9" fmla="*/ 921715 w 1404608"/>
                <a:gd name="connsiteY9" fmla="*/ 929030 h 2070201"/>
                <a:gd name="connsiteX10" fmla="*/ 877824 w 1404608"/>
                <a:gd name="connsiteY10" fmla="*/ 629107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1024128 w 1404608"/>
                <a:gd name="connsiteY8" fmla="*/ 694944 h 2070201"/>
                <a:gd name="connsiteX9" fmla="*/ 921715 w 1404608"/>
                <a:gd name="connsiteY9" fmla="*/ 929030 h 2070201"/>
                <a:gd name="connsiteX10" fmla="*/ 877824 w 1404608"/>
                <a:gd name="connsiteY10" fmla="*/ 629107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1024128 w 1404608"/>
                <a:gd name="connsiteY8" fmla="*/ 694944 h 2070201"/>
                <a:gd name="connsiteX9" fmla="*/ 921715 w 1404608"/>
                <a:gd name="connsiteY9" fmla="*/ 929030 h 2070201"/>
                <a:gd name="connsiteX10" fmla="*/ 877824 w 1404608"/>
                <a:gd name="connsiteY10" fmla="*/ 629107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1024128 w 1404608"/>
                <a:gd name="connsiteY8" fmla="*/ 694944 h 2070201"/>
                <a:gd name="connsiteX9" fmla="*/ 921715 w 1404608"/>
                <a:gd name="connsiteY9" fmla="*/ 929030 h 2070201"/>
                <a:gd name="connsiteX10" fmla="*/ 877824 w 1404608"/>
                <a:gd name="connsiteY10" fmla="*/ 629107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980236 w 1404608"/>
                <a:gd name="connsiteY8" fmla="*/ 694944 h 2070201"/>
                <a:gd name="connsiteX9" fmla="*/ 921715 w 1404608"/>
                <a:gd name="connsiteY9" fmla="*/ 929030 h 2070201"/>
                <a:gd name="connsiteX10" fmla="*/ 877824 w 1404608"/>
                <a:gd name="connsiteY10" fmla="*/ 629107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980236 w 1404608"/>
                <a:gd name="connsiteY8" fmla="*/ 694944 h 2070201"/>
                <a:gd name="connsiteX9" fmla="*/ 921715 w 1404608"/>
                <a:gd name="connsiteY9" fmla="*/ 929030 h 2070201"/>
                <a:gd name="connsiteX10" fmla="*/ 877824 w 1404608"/>
                <a:gd name="connsiteY10" fmla="*/ 629107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980236 w 1404608"/>
                <a:gd name="connsiteY8" fmla="*/ 694944 h 2070201"/>
                <a:gd name="connsiteX9" fmla="*/ 921715 w 1404608"/>
                <a:gd name="connsiteY9" fmla="*/ 929030 h 2070201"/>
                <a:gd name="connsiteX10" fmla="*/ 790042 w 1404608"/>
                <a:gd name="connsiteY10" fmla="*/ 599846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980236 w 1404608"/>
                <a:gd name="connsiteY8" fmla="*/ 694944 h 2070201"/>
                <a:gd name="connsiteX9" fmla="*/ 921715 w 1404608"/>
                <a:gd name="connsiteY9" fmla="*/ 929030 h 2070201"/>
                <a:gd name="connsiteX10" fmla="*/ 738836 w 1404608"/>
                <a:gd name="connsiteY10" fmla="*/ 592531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980236 w 1404608"/>
                <a:gd name="connsiteY8" fmla="*/ 694944 h 2070201"/>
                <a:gd name="connsiteX9" fmla="*/ 921715 w 1404608"/>
                <a:gd name="connsiteY9" fmla="*/ 929030 h 2070201"/>
                <a:gd name="connsiteX10" fmla="*/ 738836 w 1404608"/>
                <a:gd name="connsiteY10" fmla="*/ 592531 h 2070201"/>
                <a:gd name="connsiteX11" fmla="*/ 709574 w 1404608"/>
                <a:gd name="connsiteY11" fmla="*/ 936345 h 2070201"/>
                <a:gd name="connsiteX12" fmla="*/ 526694 w 1404608"/>
                <a:gd name="connsiteY12" fmla="*/ 0 h 2070201"/>
                <a:gd name="connsiteX13" fmla="*/ 468172 w 1404608"/>
                <a:gd name="connsiteY13" fmla="*/ 1338681 h 2070201"/>
                <a:gd name="connsiteX14" fmla="*/ 321868 w 1404608"/>
                <a:gd name="connsiteY14" fmla="*/ 1287475 h 2070201"/>
                <a:gd name="connsiteX15" fmla="*/ 0 w 1404608"/>
                <a:gd name="connsiteY15" fmla="*/ 1053388 h 2070201"/>
                <a:gd name="connsiteX0" fmla="*/ 0 w 1404608"/>
                <a:gd name="connsiteY0" fmla="*/ 1053388 h 2070201"/>
                <a:gd name="connsiteX1" fmla="*/ 124358 w 1404608"/>
                <a:gd name="connsiteY1" fmla="*/ 1382572 h 2070201"/>
                <a:gd name="connsiteX2" fmla="*/ 292608 w 1404608"/>
                <a:gd name="connsiteY2" fmla="*/ 1741017 h 2070201"/>
                <a:gd name="connsiteX3" fmla="*/ 687628 w 1404608"/>
                <a:gd name="connsiteY3" fmla="*/ 2070201 h 2070201"/>
                <a:gd name="connsiteX4" fmla="*/ 1294790 w 1404608"/>
                <a:gd name="connsiteY4" fmla="*/ 2055571 h 2070201"/>
                <a:gd name="connsiteX5" fmla="*/ 1404518 w 1404608"/>
                <a:gd name="connsiteY5" fmla="*/ 1155801 h 2070201"/>
                <a:gd name="connsiteX6" fmla="*/ 1221638 w 1404608"/>
                <a:gd name="connsiteY6" fmla="*/ 768096 h 2070201"/>
                <a:gd name="connsiteX7" fmla="*/ 1177747 w 1404608"/>
                <a:gd name="connsiteY7" fmla="*/ 965606 h 2070201"/>
                <a:gd name="connsiteX8" fmla="*/ 980236 w 1404608"/>
                <a:gd name="connsiteY8" fmla="*/ 694944 h 2070201"/>
                <a:gd name="connsiteX9" fmla="*/ 921715 w 1404608"/>
                <a:gd name="connsiteY9" fmla="*/ 929030 h 2070201"/>
                <a:gd name="connsiteX10" fmla="*/ 738836 w 1404608"/>
                <a:gd name="connsiteY10" fmla="*/ 592531 h 2070201"/>
                <a:gd name="connsiteX11" fmla="*/ 709574 w 1404608"/>
                <a:gd name="connsiteY11" fmla="*/ 936345 h 2070201"/>
                <a:gd name="connsiteX12" fmla="*/ 702259 w 1404608"/>
                <a:gd name="connsiteY12" fmla="*/ 629107 h 2070201"/>
                <a:gd name="connsiteX13" fmla="*/ 526694 w 1404608"/>
                <a:gd name="connsiteY13" fmla="*/ 0 h 2070201"/>
                <a:gd name="connsiteX14" fmla="*/ 468172 w 1404608"/>
                <a:gd name="connsiteY14" fmla="*/ 1338681 h 2070201"/>
                <a:gd name="connsiteX15" fmla="*/ 321868 w 1404608"/>
                <a:gd name="connsiteY15" fmla="*/ 1287475 h 2070201"/>
                <a:gd name="connsiteX16" fmla="*/ 0 w 1404608"/>
                <a:gd name="connsiteY16" fmla="*/ 1053388 h 2070201"/>
                <a:gd name="connsiteX0" fmla="*/ 0 w 1404608"/>
                <a:gd name="connsiteY0" fmla="*/ 1056935 h 2073748"/>
                <a:gd name="connsiteX1" fmla="*/ 124358 w 1404608"/>
                <a:gd name="connsiteY1" fmla="*/ 1386119 h 2073748"/>
                <a:gd name="connsiteX2" fmla="*/ 292608 w 1404608"/>
                <a:gd name="connsiteY2" fmla="*/ 1744564 h 2073748"/>
                <a:gd name="connsiteX3" fmla="*/ 687628 w 1404608"/>
                <a:gd name="connsiteY3" fmla="*/ 2073748 h 2073748"/>
                <a:gd name="connsiteX4" fmla="*/ 1294790 w 1404608"/>
                <a:gd name="connsiteY4" fmla="*/ 2059118 h 2073748"/>
                <a:gd name="connsiteX5" fmla="*/ 1404518 w 1404608"/>
                <a:gd name="connsiteY5" fmla="*/ 1159348 h 2073748"/>
                <a:gd name="connsiteX6" fmla="*/ 1221638 w 1404608"/>
                <a:gd name="connsiteY6" fmla="*/ 771643 h 2073748"/>
                <a:gd name="connsiteX7" fmla="*/ 1177747 w 1404608"/>
                <a:gd name="connsiteY7" fmla="*/ 969153 h 2073748"/>
                <a:gd name="connsiteX8" fmla="*/ 980236 w 1404608"/>
                <a:gd name="connsiteY8" fmla="*/ 698491 h 2073748"/>
                <a:gd name="connsiteX9" fmla="*/ 921715 w 1404608"/>
                <a:gd name="connsiteY9" fmla="*/ 932577 h 2073748"/>
                <a:gd name="connsiteX10" fmla="*/ 738836 w 1404608"/>
                <a:gd name="connsiteY10" fmla="*/ 596078 h 2073748"/>
                <a:gd name="connsiteX11" fmla="*/ 709574 w 1404608"/>
                <a:gd name="connsiteY11" fmla="*/ 939892 h 2073748"/>
                <a:gd name="connsiteX12" fmla="*/ 526694 w 1404608"/>
                <a:gd name="connsiteY12" fmla="*/ 3547 h 2073748"/>
                <a:gd name="connsiteX13" fmla="*/ 468172 w 1404608"/>
                <a:gd name="connsiteY13" fmla="*/ 1342228 h 2073748"/>
                <a:gd name="connsiteX14" fmla="*/ 321868 w 1404608"/>
                <a:gd name="connsiteY14" fmla="*/ 1291022 h 2073748"/>
                <a:gd name="connsiteX15" fmla="*/ 0 w 1404608"/>
                <a:gd name="connsiteY15" fmla="*/ 1056935 h 2073748"/>
                <a:gd name="connsiteX0" fmla="*/ 0 w 1404608"/>
                <a:gd name="connsiteY0" fmla="*/ 1056935 h 2073748"/>
                <a:gd name="connsiteX1" fmla="*/ 124358 w 1404608"/>
                <a:gd name="connsiteY1" fmla="*/ 1386119 h 2073748"/>
                <a:gd name="connsiteX2" fmla="*/ 292608 w 1404608"/>
                <a:gd name="connsiteY2" fmla="*/ 1744564 h 2073748"/>
                <a:gd name="connsiteX3" fmla="*/ 687628 w 1404608"/>
                <a:gd name="connsiteY3" fmla="*/ 2073748 h 2073748"/>
                <a:gd name="connsiteX4" fmla="*/ 1294790 w 1404608"/>
                <a:gd name="connsiteY4" fmla="*/ 2059118 h 2073748"/>
                <a:gd name="connsiteX5" fmla="*/ 1404518 w 1404608"/>
                <a:gd name="connsiteY5" fmla="*/ 1159348 h 2073748"/>
                <a:gd name="connsiteX6" fmla="*/ 1221638 w 1404608"/>
                <a:gd name="connsiteY6" fmla="*/ 771643 h 2073748"/>
                <a:gd name="connsiteX7" fmla="*/ 1177747 w 1404608"/>
                <a:gd name="connsiteY7" fmla="*/ 969153 h 2073748"/>
                <a:gd name="connsiteX8" fmla="*/ 980236 w 1404608"/>
                <a:gd name="connsiteY8" fmla="*/ 698491 h 2073748"/>
                <a:gd name="connsiteX9" fmla="*/ 921715 w 1404608"/>
                <a:gd name="connsiteY9" fmla="*/ 932577 h 2073748"/>
                <a:gd name="connsiteX10" fmla="*/ 738836 w 1404608"/>
                <a:gd name="connsiteY10" fmla="*/ 596078 h 2073748"/>
                <a:gd name="connsiteX11" fmla="*/ 709574 w 1404608"/>
                <a:gd name="connsiteY11" fmla="*/ 939892 h 2073748"/>
                <a:gd name="connsiteX12" fmla="*/ 526694 w 1404608"/>
                <a:gd name="connsiteY12" fmla="*/ 3547 h 2073748"/>
                <a:gd name="connsiteX13" fmla="*/ 468172 w 1404608"/>
                <a:gd name="connsiteY13" fmla="*/ 1342228 h 2073748"/>
                <a:gd name="connsiteX14" fmla="*/ 321868 w 1404608"/>
                <a:gd name="connsiteY14" fmla="*/ 1291022 h 2073748"/>
                <a:gd name="connsiteX15" fmla="*/ 0 w 1404608"/>
                <a:gd name="connsiteY15" fmla="*/ 1056935 h 2073748"/>
                <a:gd name="connsiteX0" fmla="*/ 0 w 1404608"/>
                <a:gd name="connsiteY0" fmla="*/ 1056935 h 2073748"/>
                <a:gd name="connsiteX1" fmla="*/ 124358 w 1404608"/>
                <a:gd name="connsiteY1" fmla="*/ 1386119 h 2073748"/>
                <a:gd name="connsiteX2" fmla="*/ 292608 w 1404608"/>
                <a:gd name="connsiteY2" fmla="*/ 1744564 h 2073748"/>
                <a:gd name="connsiteX3" fmla="*/ 687628 w 1404608"/>
                <a:gd name="connsiteY3" fmla="*/ 2073748 h 2073748"/>
                <a:gd name="connsiteX4" fmla="*/ 1294790 w 1404608"/>
                <a:gd name="connsiteY4" fmla="*/ 2059118 h 2073748"/>
                <a:gd name="connsiteX5" fmla="*/ 1404518 w 1404608"/>
                <a:gd name="connsiteY5" fmla="*/ 1159348 h 2073748"/>
                <a:gd name="connsiteX6" fmla="*/ 1221638 w 1404608"/>
                <a:gd name="connsiteY6" fmla="*/ 771643 h 2073748"/>
                <a:gd name="connsiteX7" fmla="*/ 1177747 w 1404608"/>
                <a:gd name="connsiteY7" fmla="*/ 969153 h 2073748"/>
                <a:gd name="connsiteX8" fmla="*/ 980236 w 1404608"/>
                <a:gd name="connsiteY8" fmla="*/ 698491 h 2073748"/>
                <a:gd name="connsiteX9" fmla="*/ 921715 w 1404608"/>
                <a:gd name="connsiteY9" fmla="*/ 932577 h 2073748"/>
                <a:gd name="connsiteX10" fmla="*/ 738836 w 1404608"/>
                <a:gd name="connsiteY10" fmla="*/ 596078 h 2073748"/>
                <a:gd name="connsiteX11" fmla="*/ 709574 w 1404608"/>
                <a:gd name="connsiteY11" fmla="*/ 939892 h 2073748"/>
                <a:gd name="connsiteX12" fmla="*/ 526694 w 1404608"/>
                <a:gd name="connsiteY12" fmla="*/ 3547 h 2073748"/>
                <a:gd name="connsiteX13" fmla="*/ 468172 w 1404608"/>
                <a:gd name="connsiteY13" fmla="*/ 1342228 h 2073748"/>
                <a:gd name="connsiteX14" fmla="*/ 321868 w 1404608"/>
                <a:gd name="connsiteY14" fmla="*/ 1291022 h 2073748"/>
                <a:gd name="connsiteX15" fmla="*/ 0 w 1404608"/>
                <a:gd name="connsiteY15" fmla="*/ 1056935 h 2073748"/>
                <a:gd name="connsiteX0" fmla="*/ 0 w 1404608"/>
                <a:gd name="connsiteY0" fmla="*/ 1058942 h 2075755"/>
                <a:gd name="connsiteX1" fmla="*/ 124358 w 1404608"/>
                <a:gd name="connsiteY1" fmla="*/ 1388126 h 2075755"/>
                <a:gd name="connsiteX2" fmla="*/ 292608 w 1404608"/>
                <a:gd name="connsiteY2" fmla="*/ 1746571 h 2075755"/>
                <a:gd name="connsiteX3" fmla="*/ 687628 w 1404608"/>
                <a:gd name="connsiteY3" fmla="*/ 2075755 h 2075755"/>
                <a:gd name="connsiteX4" fmla="*/ 1294790 w 1404608"/>
                <a:gd name="connsiteY4" fmla="*/ 2061125 h 2075755"/>
                <a:gd name="connsiteX5" fmla="*/ 1404518 w 1404608"/>
                <a:gd name="connsiteY5" fmla="*/ 1161355 h 2075755"/>
                <a:gd name="connsiteX6" fmla="*/ 1221638 w 1404608"/>
                <a:gd name="connsiteY6" fmla="*/ 773650 h 2075755"/>
                <a:gd name="connsiteX7" fmla="*/ 1177747 w 1404608"/>
                <a:gd name="connsiteY7" fmla="*/ 971160 h 2075755"/>
                <a:gd name="connsiteX8" fmla="*/ 980236 w 1404608"/>
                <a:gd name="connsiteY8" fmla="*/ 700498 h 2075755"/>
                <a:gd name="connsiteX9" fmla="*/ 921715 w 1404608"/>
                <a:gd name="connsiteY9" fmla="*/ 934584 h 2075755"/>
                <a:gd name="connsiteX10" fmla="*/ 738836 w 1404608"/>
                <a:gd name="connsiteY10" fmla="*/ 598085 h 2075755"/>
                <a:gd name="connsiteX11" fmla="*/ 709574 w 1404608"/>
                <a:gd name="connsiteY11" fmla="*/ 941899 h 2075755"/>
                <a:gd name="connsiteX12" fmla="*/ 526694 w 1404608"/>
                <a:gd name="connsiteY12" fmla="*/ 5554 h 2075755"/>
                <a:gd name="connsiteX13" fmla="*/ 468172 w 1404608"/>
                <a:gd name="connsiteY13" fmla="*/ 1344235 h 2075755"/>
                <a:gd name="connsiteX14" fmla="*/ 321868 w 1404608"/>
                <a:gd name="connsiteY14" fmla="*/ 1293029 h 2075755"/>
                <a:gd name="connsiteX15" fmla="*/ 0 w 1404608"/>
                <a:gd name="connsiteY15" fmla="*/ 1058942 h 2075755"/>
                <a:gd name="connsiteX0" fmla="*/ 0 w 1404608"/>
                <a:gd name="connsiteY0" fmla="*/ 1029958 h 2046771"/>
                <a:gd name="connsiteX1" fmla="*/ 124358 w 1404608"/>
                <a:gd name="connsiteY1" fmla="*/ 1359142 h 2046771"/>
                <a:gd name="connsiteX2" fmla="*/ 292608 w 1404608"/>
                <a:gd name="connsiteY2" fmla="*/ 1717587 h 2046771"/>
                <a:gd name="connsiteX3" fmla="*/ 687628 w 1404608"/>
                <a:gd name="connsiteY3" fmla="*/ 2046771 h 2046771"/>
                <a:gd name="connsiteX4" fmla="*/ 1294790 w 1404608"/>
                <a:gd name="connsiteY4" fmla="*/ 2032141 h 2046771"/>
                <a:gd name="connsiteX5" fmla="*/ 1404518 w 1404608"/>
                <a:gd name="connsiteY5" fmla="*/ 1132371 h 2046771"/>
                <a:gd name="connsiteX6" fmla="*/ 1221638 w 1404608"/>
                <a:gd name="connsiteY6" fmla="*/ 744666 h 2046771"/>
                <a:gd name="connsiteX7" fmla="*/ 1177747 w 1404608"/>
                <a:gd name="connsiteY7" fmla="*/ 942176 h 2046771"/>
                <a:gd name="connsiteX8" fmla="*/ 980236 w 1404608"/>
                <a:gd name="connsiteY8" fmla="*/ 671514 h 2046771"/>
                <a:gd name="connsiteX9" fmla="*/ 921715 w 1404608"/>
                <a:gd name="connsiteY9" fmla="*/ 905600 h 2046771"/>
                <a:gd name="connsiteX10" fmla="*/ 738836 w 1404608"/>
                <a:gd name="connsiteY10" fmla="*/ 569101 h 2046771"/>
                <a:gd name="connsiteX11" fmla="*/ 709574 w 1404608"/>
                <a:gd name="connsiteY11" fmla="*/ 912915 h 2046771"/>
                <a:gd name="connsiteX12" fmla="*/ 526694 w 1404608"/>
                <a:gd name="connsiteY12" fmla="*/ 5831 h 2046771"/>
                <a:gd name="connsiteX13" fmla="*/ 468172 w 1404608"/>
                <a:gd name="connsiteY13" fmla="*/ 1315251 h 2046771"/>
                <a:gd name="connsiteX14" fmla="*/ 321868 w 1404608"/>
                <a:gd name="connsiteY14" fmla="*/ 1264045 h 2046771"/>
                <a:gd name="connsiteX15" fmla="*/ 0 w 1404608"/>
                <a:gd name="connsiteY15" fmla="*/ 1029958 h 2046771"/>
                <a:gd name="connsiteX0" fmla="*/ 0 w 1404608"/>
                <a:gd name="connsiteY0" fmla="*/ 1024127 h 2040940"/>
                <a:gd name="connsiteX1" fmla="*/ 124358 w 1404608"/>
                <a:gd name="connsiteY1" fmla="*/ 1353311 h 2040940"/>
                <a:gd name="connsiteX2" fmla="*/ 292608 w 1404608"/>
                <a:gd name="connsiteY2" fmla="*/ 1711756 h 2040940"/>
                <a:gd name="connsiteX3" fmla="*/ 687628 w 1404608"/>
                <a:gd name="connsiteY3" fmla="*/ 2040940 h 2040940"/>
                <a:gd name="connsiteX4" fmla="*/ 1294790 w 1404608"/>
                <a:gd name="connsiteY4" fmla="*/ 2026310 h 2040940"/>
                <a:gd name="connsiteX5" fmla="*/ 1404518 w 1404608"/>
                <a:gd name="connsiteY5" fmla="*/ 1126540 h 2040940"/>
                <a:gd name="connsiteX6" fmla="*/ 1221638 w 1404608"/>
                <a:gd name="connsiteY6" fmla="*/ 738835 h 2040940"/>
                <a:gd name="connsiteX7" fmla="*/ 1177747 w 1404608"/>
                <a:gd name="connsiteY7" fmla="*/ 936345 h 2040940"/>
                <a:gd name="connsiteX8" fmla="*/ 980236 w 1404608"/>
                <a:gd name="connsiteY8" fmla="*/ 665683 h 2040940"/>
                <a:gd name="connsiteX9" fmla="*/ 921715 w 1404608"/>
                <a:gd name="connsiteY9" fmla="*/ 899769 h 2040940"/>
                <a:gd name="connsiteX10" fmla="*/ 738836 w 1404608"/>
                <a:gd name="connsiteY10" fmla="*/ 563270 h 2040940"/>
                <a:gd name="connsiteX11" fmla="*/ 709574 w 1404608"/>
                <a:gd name="connsiteY11" fmla="*/ 907084 h 2040940"/>
                <a:gd name="connsiteX12" fmla="*/ 526694 w 1404608"/>
                <a:gd name="connsiteY12" fmla="*/ 0 h 2040940"/>
                <a:gd name="connsiteX13" fmla="*/ 468172 w 1404608"/>
                <a:gd name="connsiteY13" fmla="*/ 1309420 h 2040940"/>
                <a:gd name="connsiteX14" fmla="*/ 321868 w 1404608"/>
                <a:gd name="connsiteY14" fmla="*/ 1258214 h 2040940"/>
                <a:gd name="connsiteX15" fmla="*/ 0 w 1404608"/>
                <a:gd name="connsiteY15" fmla="*/ 1024127 h 2040940"/>
                <a:gd name="connsiteX0" fmla="*/ 0 w 1404608"/>
                <a:gd name="connsiteY0" fmla="*/ 1024614 h 2041427"/>
                <a:gd name="connsiteX1" fmla="*/ 124358 w 1404608"/>
                <a:gd name="connsiteY1" fmla="*/ 1353798 h 2041427"/>
                <a:gd name="connsiteX2" fmla="*/ 292608 w 1404608"/>
                <a:gd name="connsiteY2" fmla="*/ 1712243 h 2041427"/>
                <a:gd name="connsiteX3" fmla="*/ 687628 w 1404608"/>
                <a:gd name="connsiteY3" fmla="*/ 2041427 h 2041427"/>
                <a:gd name="connsiteX4" fmla="*/ 1294790 w 1404608"/>
                <a:gd name="connsiteY4" fmla="*/ 2026797 h 2041427"/>
                <a:gd name="connsiteX5" fmla="*/ 1404518 w 1404608"/>
                <a:gd name="connsiteY5" fmla="*/ 1127027 h 2041427"/>
                <a:gd name="connsiteX6" fmla="*/ 1221638 w 1404608"/>
                <a:gd name="connsiteY6" fmla="*/ 739322 h 2041427"/>
                <a:gd name="connsiteX7" fmla="*/ 1177747 w 1404608"/>
                <a:gd name="connsiteY7" fmla="*/ 936832 h 2041427"/>
                <a:gd name="connsiteX8" fmla="*/ 980236 w 1404608"/>
                <a:gd name="connsiteY8" fmla="*/ 666170 h 2041427"/>
                <a:gd name="connsiteX9" fmla="*/ 921715 w 1404608"/>
                <a:gd name="connsiteY9" fmla="*/ 900256 h 2041427"/>
                <a:gd name="connsiteX10" fmla="*/ 738836 w 1404608"/>
                <a:gd name="connsiteY10" fmla="*/ 563757 h 2041427"/>
                <a:gd name="connsiteX11" fmla="*/ 709574 w 1404608"/>
                <a:gd name="connsiteY11" fmla="*/ 907571 h 2041427"/>
                <a:gd name="connsiteX12" fmla="*/ 526694 w 1404608"/>
                <a:gd name="connsiteY12" fmla="*/ 487 h 2041427"/>
                <a:gd name="connsiteX13" fmla="*/ 468172 w 1404608"/>
                <a:gd name="connsiteY13" fmla="*/ 1309907 h 2041427"/>
                <a:gd name="connsiteX14" fmla="*/ 321868 w 1404608"/>
                <a:gd name="connsiteY14" fmla="*/ 1258701 h 2041427"/>
                <a:gd name="connsiteX15" fmla="*/ 0 w 1404608"/>
                <a:gd name="connsiteY15" fmla="*/ 1024614 h 2041427"/>
                <a:gd name="connsiteX0" fmla="*/ 0 w 1404608"/>
                <a:gd name="connsiteY0" fmla="*/ 1024614 h 2041427"/>
                <a:gd name="connsiteX1" fmla="*/ 124358 w 1404608"/>
                <a:gd name="connsiteY1" fmla="*/ 1353798 h 2041427"/>
                <a:gd name="connsiteX2" fmla="*/ 292608 w 1404608"/>
                <a:gd name="connsiteY2" fmla="*/ 1712243 h 2041427"/>
                <a:gd name="connsiteX3" fmla="*/ 687628 w 1404608"/>
                <a:gd name="connsiteY3" fmla="*/ 2041427 h 2041427"/>
                <a:gd name="connsiteX4" fmla="*/ 1294790 w 1404608"/>
                <a:gd name="connsiteY4" fmla="*/ 2026797 h 2041427"/>
                <a:gd name="connsiteX5" fmla="*/ 1404518 w 1404608"/>
                <a:gd name="connsiteY5" fmla="*/ 1127027 h 2041427"/>
                <a:gd name="connsiteX6" fmla="*/ 1221638 w 1404608"/>
                <a:gd name="connsiteY6" fmla="*/ 739322 h 2041427"/>
                <a:gd name="connsiteX7" fmla="*/ 1177747 w 1404608"/>
                <a:gd name="connsiteY7" fmla="*/ 936832 h 2041427"/>
                <a:gd name="connsiteX8" fmla="*/ 980236 w 1404608"/>
                <a:gd name="connsiteY8" fmla="*/ 666170 h 2041427"/>
                <a:gd name="connsiteX9" fmla="*/ 921715 w 1404608"/>
                <a:gd name="connsiteY9" fmla="*/ 900256 h 2041427"/>
                <a:gd name="connsiteX10" fmla="*/ 738836 w 1404608"/>
                <a:gd name="connsiteY10" fmla="*/ 563757 h 2041427"/>
                <a:gd name="connsiteX11" fmla="*/ 709574 w 1404608"/>
                <a:gd name="connsiteY11" fmla="*/ 907571 h 2041427"/>
                <a:gd name="connsiteX12" fmla="*/ 526694 w 1404608"/>
                <a:gd name="connsiteY12" fmla="*/ 487 h 2041427"/>
                <a:gd name="connsiteX13" fmla="*/ 468172 w 1404608"/>
                <a:gd name="connsiteY13" fmla="*/ 1309907 h 2041427"/>
                <a:gd name="connsiteX14" fmla="*/ 321868 w 1404608"/>
                <a:gd name="connsiteY14" fmla="*/ 1258701 h 2041427"/>
                <a:gd name="connsiteX15" fmla="*/ 0 w 1404608"/>
                <a:gd name="connsiteY15" fmla="*/ 1024614 h 2041427"/>
                <a:gd name="connsiteX0" fmla="*/ 0 w 1404608"/>
                <a:gd name="connsiteY0" fmla="*/ 1024370 h 2041183"/>
                <a:gd name="connsiteX1" fmla="*/ 124358 w 1404608"/>
                <a:gd name="connsiteY1" fmla="*/ 1353554 h 2041183"/>
                <a:gd name="connsiteX2" fmla="*/ 292608 w 1404608"/>
                <a:gd name="connsiteY2" fmla="*/ 1711999 h 2041183"/>
                <a:gd name="connsiteX3" fmla="*/ 687628 w 1404608"/>
                <a:gd name="connsiteY3" fmla="*/ 2041183 h 2041183"/>
                <a:gd name="connsiteX4" fmla="*/ 1294790 w 1404608"/>
                <a:gd name="connsiteY4" fmla="*/ 2026553 h 2041183"/>
                <a:gd name="connsiteX5" fmla="*/ 1404518 w 1404608"/>
                <a:gd name="connsiteY5" fmla="*/ 1126783 h 2041183"/>
                <a:gd name="connsiteX6" fmla="*/ 1221638 w 1404608"/>
                <a:gd name="connsiteY6" fmla="*/ 739078 h 2041183"/>
                <a:gd name="connsiteX7" fmla="*/ 1177747 w 1404608"/>
                <a:gd name="connsiteY7" fmla="*/ 936588 h 2041183"/>
                <a:gd name="connsiteX8" fmla="*/ 980236 w 1404608"/>
                <a:gd name="connsiteY8" fmla="*/ 665926 h 2041183"/>
                <a:gd name="connsiteX9" fmla="*/ 921715 w 1404608"/>
                <a:gd name="connsiteY9" fmla="*/ 900012 h 2041183"/>
                <a:gd name="connsiteX10" fmla="*/ 738836 w 1404608"/>
                <a:gd name="connsiteY10" fmla="*/ 563513 h 2041183"/>
                <a:gd name="connsiteX11" fmla="*/ 709574 w 1404608"/>
                <a:gd name="connsiteY11" fmla="*/ 907327 h 2041183"/>
                <a:gd name="connsiteX12" fmla="*/ 526694 w 1404608"/>
                <a:gd name="connsiteY12" fmla="*/ 243 h 2041183"/>
                <a:gd name="connsiteX13" fmla="*/ 468172 w 1404608"/>
                <a:gd name="connsiteY13" fmla="*/ 1309663 h 2041183"/>
                <a:gd name="connsiteX14" fmla="*/ 321868 w 1404608"/>
                <a:gd name="connsiteY14" fmla="*/ 1258457 h 2041183"/>
                <a:gd name="connsiteX15" fmla="*/ 0 w 1404608"/>
                <a:gd name="connsiteY15" fmla="*/ 1024370 h 2041183"/>
                <a:gd name="connsiteX0" fmla="*/ 0 w 1404608"/>
                <a:gd name="connsiteY0" fmla="*/ 1024383 h 2041196"/>
                <a:gd name="connsiteX1" fmla="*/ 124358 w 1404608"/>
                <a:gd name="connsiteY1" fmla="*/ 1353567 h 2041196"/>
                <a:gd name="connsiteX2" fmla="*/ 292608 w 1404608"/>
                <a:gd name="connsiteY2" fmla="*/ 1712012 h 2041196"/>
                <a:gd name="connsiteX3" fmla="*/ 687628 w 1404608"/>
                <a:gd name="connsiteY3" fmla="*/ 2041196 h 2041196"/>
                <a:gd name="connsiteX4" fmla="*/ 1294790 w 1404608"/>
                <a:gd name="connsiteY4" fmla="*/ 2026566 h 2041196"/>
                <a:gd name="connsiteX5" fmla="*/ 1404518 w 1404608"/>
                <a:gd name="connsiteY5" fmla="*/ 1126796 h 2041196"/>
                <a:gd name="connsiteX6" fmla="*/ 1221638 w 1404608"/>
                <a:gd name="connsiteY6" fmla="*/ 739091 h 2041196"/>
                <a:gd name="connsiteX7" fmla="*/ 1177747 w 1404608"/>
                <a:gd name="connsiteY7" fmla="*/ 936601 h 2041196"/>
                <a:gd name="connsiteX8" fmla="*/ 980236 w 1404608"/>
                <a:gd name="connsiteY8" fmla="*/ 665939 h 2041196"/>
                <a:gd name="connsiteX9" fmla="*/ 921715 w 1404608"/>
                <a:gd name="connsiteY9" fmla="*/ 900025 h 2041196"/>
                <a:gd name="connsiteX10" fmla="*/ 738836 w 1404608"/>
                <a:gd name="connsiteY10" fmla="*/ 563526 h 2041196"/>
                <a:gd name="connsiteX11" fmla="*/ 709574 w 1404608"/>
                <a:gd name="connsiteY11" fmla="*/ 907340 h 2041196"/>
                <a:gd name="connsiteX12" fmla="*/ 526694 w 1404608"/>
                <a:gd name="connsiteY12" fmla="*/ 256 h 2041196"/>
                <a:gd name="connsiteX13" fmla="*/ 453541 w 1404608"/>
                <a:gd name="connsiteY13" fmla="*/ 1258469 h 2041196"/>
                <a:gd name="connsiteX14" fmla="*/ 321868 w 1404608"/>
                <a:gd name="connsiteY14" fmla="*/ 1258470 h 2041196"/>
                <a:gd name="connsiteX15" fmla="*/ 0 w 1404608"/>
                <a:gd name="connsiteY15" fmla="*/ 1024383 h 2041196"/>
                <a:gd name="connsiteX0" fmla="*/ 0 w 1404608"/>
                <a:gd name="connsiteY0" fmla="*/ 1024383 h 2041196"/>
                <a:gd name="connsiteX1" fmla="*/ 124358 w 1404608"/>
                <a:gd name="connsiteY1" fmla="*/ 1353567 h 2041196"/>
                <a:gd name="connsiteX2" fmla="*/ 292608 w 1404608"/>
                <a:gd name="connsiteY2" fmla="*/ 1712012 h 2041196"/>
                <a:gd name="connsiteX3" fmla="*/ 687628 w 1404608"/>
                <a:gd name="connsiteY3" fmla="*/ 2041196 h 2041196"/>
                <a:gd name="connsiteX4" fmla="*/ 1294790 w 1404608"/>
                <a:gd name="connsiteY4" fmla="*/ 2026566 h 2041196"/>
                <a:gd name="connsiteX5" fmla="*/ 1404518 w 1404608"/>
                <a:gd name="connsiteY5" fmla="*/ 1126796 h 2041196"/>
                <a:gd name="connsiteX6" fmla="*/ 1221638 w 1404608"/>
                <a:gd name="connsiteY6" fmla="*/ 739091 h 2041196"/>
                <a:gd name="connsiteX7" fmla="*/ 1177747 w 1404608"/>
                <a:gd name="connsiteY7" fmla="*/ 936601 h 2041196"/>
                <a:gd name="connsiteX8" fmla="*/ 980236 w 1404608"/>
                <a:gd name="connsiteY8" fmla="*/ 665939 h 2041196"/>
                <a:gd name="connsiteX9" fmla="*/ 921715 w 1404608"/>
                <a:gd name="connsiteY9" fmla="*/ 900025 h 2041196"/>
                <a:gd name="connsiteX10" fmla="*/ 738836 w 1404608"/>
                <a:gd name="connsiteY10" fmla="*/ 563526 h 2041196"/>
                <a:gd name="connsiteX11" fmla="*/ 709574 w 1404608"/>
                <a:gd name="connsiteY11" fmla="*/ 907340 h 2041196"/>
                <a:gd name="connsiteX12" fmla="*/ 526694 w 1404608"/>
                <a:gd name="connsiteY12" fmla="*/ 256 h 2041196"/>
                <a:gd name="connsiteX13" fmla="*/ 453541 w 1404608"/>
                <a:gd name="connsiteY13" fmla="*/ 1258469 h 2041196"/>
                <a:gd name="connsiteX14" fmla="*/ 321868 w 1404608"/>
                <a:gd name="connsiteY14" fmla="*/ 1258470 h 2041196"/>
                <a:gd name="connsiteX15" fmla="*/ 0 w 1404608"/>
                <a:gd name="connsiteY15" fmla="*/ 1024383 h 2041196"/>
                <a:gd name="connsiteX0" fmla="*/ 0 w 1404608"/>
                <a:gd name="connsiteY0" fmla="*/ 1024369 h 2041182"/>
                <a:gd name="connsiteX1" fmla="*/ 124358 w 1404608"/>
                <a:gd name="connsiteY1" fmla="*/ 1353553 h 2041182"/>
                <a:gd name="connsiteX2" fmla="*/ 292608 w 1404608"/>
                <a:gd name="connsiteY2" fmla="*/ 1711998 h 2041182"/>
                <a:gd name="connsiteX3" fmla="*/ 687628 w 1404608"/>
                <a:gd name="connsiteY3" fmla="*/ 2041182 h 2041182"/>
                <a:gd name="connsiteX4" fmla="*/ 1294790 w 1404608"/>
                <a:gd name="connsiteY4" fmla="*/ 2026552 h 2041182"/>
                <a:gd name="connsiteX5" fmla="*/ 1404518 w 1404608"/>
                <a:gd name="connsiteY5" fmla="*/ 1126782 h 2041182"/>
                <a:gd name="connsiteX6" fmla="*/ 1221638 w 1404608"/>
                <a:gd name="connsiteY6" fmla="*/ 739077 h 2041182"/>
                <a:gd name="connsiteX7" fmla="*/ 1177747 w 1404608"/>
                <a:gd name="connsiteY7" fmla="*/ 936587 h 2041182"/>
                <a:gd name="connsiteX8" fmla="*/ 980236 w 1404608"/>
                <a:gd name="connsiteY8" fmla="*/ 665925 h 2041182"/>
                <a:gd name="connsiteX9" fmla="*/ 921715 w 1404608"/>
                <a:gd name="connsiteY9" fmla="*/ 900011 h 2041182"/>
                <a:gd name="connsiteX10" fmla="*/ 738836 w 1404608"/>
                <a:gd name="connsiteY10" fmla="*/ 563512 h 2041182"/>
                <a:gd name="connsiteX11" fmla="*/ 709574 w 1404608"/>
                <a:gd name="connsiteY11" fmla="*/ 907326 h 2041182"/>
                <a:gd name="connsiteX12" fmla="*/ 526694 w 1404608"/>
                <a:gd name="connsiteY12" fmla="*/ 242 h 2041182"/>
                <a:gd name="connsiteX13" fmla="*/ 456712 w 1404608"/>
                <a:gd name="connsiteY13" fmla="*/ 1312361 h 2041182"/>
                <a:gd name="connsiteX14" fmla="*/ 321868 w 1404608"/>
                <a:gd name="connsiteY14" fmla="*/ 1258456 h 2041182"/>
                <a:gd name="connsiteX15" fmla="*/ 0 w 1404608"/>
                <a:gd name="connsiteY15" fmla="*/ 1024369 h 2041182"/>
                <a:gd name="connsiteX0" fmla="*/ 0 w 1404608"/>
                <a:gd name="connsiteY0" fmla="*/ 1024369 h 2041182"/>
                <a:gd name="connsiteX1" fmla="*/ 124358 w 1404608"/>
                <a:gd name="connsiteY1" fmla="*/ 1353553 h 2041182"/>
                <a:gd name="connsiteX2" fmla="*/ 292608 w 1404608"/>
                <a:gd name="connsiteY2" fmla="*/ 1711998 h 2041182"/>
                <a:gd name="connsiteX3" fmla="*/ 687628 w 1404608"/>
                <a:gd name="connsiteY3" fmla="*/ 2041182 h 2041182"/>
                <a:gd name="connsiteX4" fmla="*/ 1294790 w 1404608"/>
                <a:gd name="connsiteY4" fmla="*/ 2026552 h 2041182"/>
                <a:gd name="connsiteX5" fmla="*/ 1404518 w 1404608"/>
                <a:gd name="connsiteY5" fmla="*/ 1126782 h 2041182"/>
                <a:gd name="connsiteX6" fmla="*/ 1221638 w 1404608"/>
                <a:gd name="connsiteY6" fmla="*/ 739077 h 2041182"/>
                <a:gd name="connsiteX7" fmla="*/ 1177747 w 1404608"/>
                <a:gd name="connsiteY7" fmla="*/ 936587 h 2041182"/>
                <a:gd name="connsiteX8" fmla="*/ 980236 w 1404608"/>
                <a:gd name="connsiteY8" fmla="*/ 665925 h 2041182"/>
                <a:gd name="connsiteX9" fmla="*/ 921715 w 1404608"/>
                <a:gd name="connsiteY9" fmla="*/ 900011 h 2041182"/>
                <a:gd name="connsiteX10" fmla="*/ 738836 w 1404608"/>
                <a:gd name="connsiteY10" fmla="*/ 563512 h 2041182"/>
                <a:gd name="connsiteX11" fmla="*/ 709574 w 1404608"/>
                <a:gd name="connsiteY11" fmla="*/ 907326 h 2041182"/>
                <a:gd name="connsiteX12" fmla="*/ 526694 w 1404608"/>
                <a:gd name="connsiteY12" fmla="*/ 242 h 2041182"/>
                <a:gd name="connsiteX13" fmla="*/ 456712 w 1404608"/>
                <a:gd name="connsiteY13" fmla="*/ 1312361 h 2041182"/>
                <a:gd name="connsiteX14" fmla="*/ 321868 w 1404608"/>
                <a:gd name="connsiteY14" fmla="*/ 1258456 h 2041182"/>
                <a:gd name="connsiteX15" fmla="*/ 0 w 1404608"/>
                <a:gd name="connsiteY15" fmla="*/ 1024369 h 2041182"/>
                <a:gd name="connsiteX0" fmla="*/ 0 w 1404608"/>
                <a:gd name="connsiteY0" fmla="*/ 1024369 h 2041182"/>
                <a:gd name="connsiteX1" fmla="*/ 124358 w 1404608"/>
                <a:gd name="connsiteY1" fmla="*/ 1353553 h 2041182"/>
                <a:gd name="connsiteX2" fmla="*/ 292608 w 1404608"/>
                <a:gd name="connsiteY2" fmla="*/ 1711998 h 2041182"/>
                <a:gd name="connsiteX3" fmla="*/ 687628 w 1404608"/>
                <a:gd name="connsiteY3" fmla="*/ 2041182 h 2041182"/>
                <a:gd name="connsiteX4" fmla="*/ 1294790 w 1404608"/>
                <a:gd name="connsiteY4" fmla="*/ 2026552 h 2041182"/>
                <a:gd name="connsiteX5" fmla="*/ 1404518 w 1404608"/>
                <a:gd name="connsiteY5" fmla="*/ 1126782 h 2041182"/>
                <a:gd name="connsiteX6" fmla="*/ 1221638 w 1404608"/>
                <a:gd name="connsiteY6" fmla="*/ 739077 h 2041182"/>
                <a:gd name="connsiteX7" fmla="*/ 1177747 w 1404608"/>
                <a:gd name="connsiteY7" fmla="*/ 936587 h 2041182"/>
                <a:gd name="connsiteX8" fmla="*/ 980236 w 1404608"/>
                <a:gd name="connsiteY8" fmla="*/ 665925 h 2041182"/>
                <a:gd name="connsiteX9" fmla="*/ 921715 w 1404608"/>
                <a:gd name="connsiteY9" fmla="*/ 900011 h 2041182"/>
                <a:gd name="connsiteX10" fmla="*/ 738836 w 1404608"/>
                <a:gd name="connsiteY10" fmla="*/ 563512 h 2041182"/>
                <a:gd name="connsiteX11" fmla="*/ 709574 w 1404608"/>
                <a:gd name="connsiteY11" fmla="*/ 907326 h 2041182"/>
                <a:gd name="connsiteX12" fmla="*/ 526694 w 1404608"/>
                <a:gd name="connsiteY12" fmla="*/ 242 h 2041182"/>
                <a:gd name="connsiteX13" fmla="*/ 456712 w 1404608"/>
                <a:gd name="connsiteY13" fmla="*/ 1312361 h 2041182"/>
                <a:gd name="connsiteX14" fmla="*/ 321868 w 1404608"/>
                <a:gd name="connsiteY14" fmla="*/ 1258456 h 2041182"/>
                <a:gd name="connsiteX15" fmla="*/ 0 w 1404608"/>
                <a:gd name="connsiteY15" fmla="*/ 1024369 h 2041182"/>
                <a:gd name="connsiteX0" fmla="*/ 0 w 1420463"/>
                <a:gd name="connsiteY0" fmla="*/ 957779 h 2041182"/>
                <a:gd name="connsiteX1" fmla="*/ 140213 w 1420463"/>
                <a:gd name="connsiteY1" fmla="*/ 1353553 h 2041182"/>
                <a:gd name="connsiteX2" fmla="*/ 308463 w 1420463"/>
                <a:gd name="connsiteY2" fmla="*/ 1711998 h 2041182"/>
                <a:gd name="connsiteX3" fmla="*/ 703483 w 1420463"/>
                <a:gd name="connsiteY3" fmla="*/ 2041182 h 2041182"/>
                <a:gd name="connsiteX4" fmla="*/ 1310645 w 1420463"/>
                <a:gd name="connsiteY4" fmla="*/ 2026552 h 2041182"/>
                <a:gd name="connsiteX5" fmla="*/ 1420373 w 1420463"/>
                <a:gd name="connsiteY5" fmla="*/ 1126782 h 2041182"/>
                <a:gd name="connsiteX6" fmla="*/ 1237493 w 1420463"/>
                <a:gd name="connsiteY6" fmla="*/ 739077 h 2041182"/>
                <a:gd name="connsiteX7" fmla="*/ 1193602 w 1420463"/>
                <a:gd name="connsiteY7" fmla="*/ 936587 h 2041182"/>
                <a:gd name="connsiteX8" fmla="*/ 996091 w 1420463"/>
                <a:gd name="connsiteY8" fmla="*/ 665925 h 2041182"/>
                <a:gd name="connsiteX9" fmla="*/ 937570 w 1420463"/>
                <a:gd name="connsiteY9" fmla="*/ 900011 h 2041182"/>
                <a:gd name="connsiteX10" fmla="*/ 754691 w 1420463"/>
                <a:gd name="connsiteY10" fmla="*/ 563512 h 2041182"/>
                <a:gd name="connsiteX11" fmla="*/ 725429 w 1420463"/>
                <a:gd name="connsiteY11" fmla="*/ 907326 h 2041182"/>
                <a:gd name="connsiteX12" fmla="*/ 542549 w 1420463"/>
                <a:gd name="connsiteY12" fmla="*/ 242 h 2041182"/>
                <a:gd name="connsiteX13" fmla="*/ 472567 w 1420463"/>
                <a:gd name="connsiteY13" fmla="*/ 1312361 h 2041182"/>
                <a:gd name="connsiteX14" fmla="*/ 337723 w 1420463"/>
                <a:gd name="connsiteY14" fmla="*/ 1258456 h 2041182"/>
                <a:gd name="connsiteX15" fmla="*/ 0 w 1420463"/>
                <a:gd name="connsiteY15" fmla="*/ 957779 h 2041182"/>
                <a:gd name="connsiteX0" fmla="*/ 0 w 1420463"/>
                <a:gd name="connsiteY0" fmla="*/ 957779 h 2041182"/>
                <a:gd name="connsiteX1" fmla="*/ 140213 w 1420463"/>
                <a:gd name="connsiteY1" fmla="*/ 1353553 h 2041182"/>
                <a:gd name="connsiteX2" fmla="*/ 308463 w 1420463"/>
                <a:gd name="connsiteY2" fmla="*/ 1711998 h 2041182"/>
                <a:gd name="connsiteX3" fmla="*/ 703483 w 1420463"/>
                <a:gd name="connsiteY3" fmla="*/ 2041182 h 2041182"/>
                <a:gd name="connsiteX4" fmla="*/ 1310645 w 1420463"/>
                <a:gd name="connsiteY4" fmla="*/ 2026552 h 2041182"/>
                <a:gd name="connsiteX5" fmla="*/ 1420373 w 1420463"/>
                <a:gd name="connsiteY5" fmla="*/ 1126782 h 2041182"/>
                <a:gd name="connsiteX6" fmla="*/ 1237493 w 1420463"/>
                <a:gd name="connsiteY6" fmla="*/ 739077 h 2041182"/>
                <a:gd name="connsiteX7" fmla="*/ 1193602 w 1420463"/>
                <a:gd name="connsiteY7" fmla="*/ 936587 h 2041182"/>
                <a:gd name="connsiteX8" fmla="*/ 996091 w 1420463"/>
                <a:gd name="connsiteY8" fmla="*/ 665925 h 2041182"/>
                <a:gd name="connsiteX9" fmla="*/ 937570 w 1420463"/>
                <a:gd name="connsiteY9" fmla="*/ 900011 h 2041182"/>
                <a:gd name="connsiteX10" fmla="*/ 754691 w 1420463"/>
                <a:gd name="connsiteY10" fmla="*/ 563512 h 2041182"/>
                <a:gd name="connsiteX11" fmla="*/ 725429 w 1420463"/>
                <a:gd name="connsiteY11" fmla="*/ 907326 h 2041182"/>
                <a:gd name="connsiteX12" fmla="*/ 542549 w 1420463"/>
                <a:gd name="connsiteY12" fmla="*/ 242 h 2041182"/>
                <a:gd name="connsiteX13" fmla="*/ 472567 w 1420463"/>
                <a:gd name="connsiteY13" fmla="*/ 1312361 h 2041182"/>
                <a:gd name="connsiteX14" fmla="*/ 337723 w 1420463"/>
                <a:gd name="connsiteY14" fmla="*/ 1258456 h 2041182"/>
                <a:gd name="connsiteX15" fmla="*/ 0 w 1420463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38289 w 1421182"/>
                <a:gd name="connsiteY9" fmla="*/ 900011 h 2041182"/>
                <a:gd name="connsiteX10" fmla="*/ 755410 w 1421182"/>
                <a:gd name="connsiteY10" fmla="*/ 563512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38289 w 1421182"/>
                <a:gd name="connsiteY9" fmla="*/ 900011 h 2041182"/>
                <a:gd name="connsiteX10" fmla="*/ 736384 w 1421182"/>
                <a:gd name="connsiteY10" fmla="*/ 563512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38289 w 1421182"/>
                <a:gd name="connsiteY9" fmla="*/ 900011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38289 w 1421182"/>
                <a:gd name="connsiteY9" fmla="*/ 900011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38289 w 1421182"/>
                <a:gd name="connsiteY9" fmla="*/ 900011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38289 w 1421182"/>
                <a:gd name="connsiteY9" fmla="*/ 900011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96810 w 1421182"/>
                <a:gd name="connsiteY8" fmla="*/ 665925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94321 w 1421182"/>
                <a:gd name="connsiteY7" fmla="*/ 936587 h 2041182"/>
                <a:gd name="connsiteX8" fmla="*/ 955588 w 1421182"/>
                <a:gd name="connsiteY8" fmla="*/ 659583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78466 w 1421182"/>
                <a:gd name="connsiteY7" fmla="*/ 927074 h 2041182"/>
                <a:gd name="connsiteX8" fmla="*/ 955588 w 1421182"/>
                <a:gd name="connsiteY8" fmla="*/ 659583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78466 w 1421182"/>
                <a:gd name="connsiteY7" fmla="*/ 927074 h 2041182"/>
                <a:gd name="connsiteX8" fmla="*/ 955588 w 1421182"/>
                <a:gd name="connsiteY8" fmla="*/ 659583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78466 w 1421182"/>
                <a:gd name="connsiteY7" fmla="*/ 927074 h 2041182"/>
                <a:gd name="connsiteX8" fmla="*/ 955588 w 1421182"/>
                <a:gd name="connsiteY8" fmla="*/ 618361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78466 w 1421182"/>
                <a:gd name="connsiteY7" fmla="*/ 927074 h 2041182"/>
                <a:gd name="connsiteX8" fmla="*/ 955588 w 1421182"/>
                <a:gd name="connsiteY8" fmla="*/ 618361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238212 w 1421182"/>
                <a:gd name="connsiteY6" fmla="*/ 739077 h 2041182"/>
                <a:gd name="connsiteX7" fmla="*/ 1178466 w 1421182"/>
                <a:gd name="connsiteY7" fmla="*/ 927074 h 2041182"/>
                <a:gd name="connsiteX8" fmla="*/ 955588 w 1421182"/>
                <a:gd name="connsiteY8" fmla="*/ 618361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87477 w 1421182"/>
                <a:gd name="connsiteY6" fmla="*/ 691513 h 2041182"/>
                <a:gd name="connsiteX7" fmla="*/ 1178466 w 1421182"/>
                <a:gd name="connsiteY7" fmla="*/ 927074 h 2041182"/>
                <a:gd name="connsiteX8" fmla="*/ 955588 w 1421182"/>
                <a:gd name="connsiteY8" fmla="*/ 618361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87477 w 1421182"/>
                <a:gd name="connsiteY6" fmla="*/ 691513 h 2041182"/>
                <a:gd name="connsiteX7" fmla="*/ 1178466 w 1421182"/>
                <a:gd name="connsiteY7" fmla="*/ 927074 h 2041182"/>
                <a:gd name="connsiteX8" fmla="*/ 955588 w 1421182"/>
                <a:gd name="connsiteY8" fmla="*/ 618361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87477 w 1421182"/>
                <a:gd name="connsiteY6" fmla="*/ 691513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87477 w 1421182"/>
                <a:gd name="connsiteY6" fmla="*/ 691513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87477 w 1421182"/>
                <a:gd name="connsiteY6" fmla="*/ 691513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87477 w 1421182"/>
                <a:gd name="connsiteY6" fmla="*/ 691513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6148 w 1421182"/>
                <a:gd name="connsiteY11" fmla="*/ 907326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47802 w 1421182"/>
                <a:gd name="connsiteY9" fmla="*/ 906353 h 2041182"/>
                <a:gd name="connsiteX10" fmla="*/ 711016 w 1421182"/>
                <a:gd name="connsiteY10" fmla="*/ 569854 h 2041182"/>
                <a:gd name="connsiteX11" fmla="*/ 729319 w 1421182"/>
                <a:gd name="connsiteY11" fmla="*/ 958061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57315 w 1421182"/>
                <a:gd name="connsiteY9" fmla="*/ 944404 h 2041182"/>
                <a:gd name="connsiteX10" fmla="*/ 711016 w 1421182"/>
                <a:gd name="connsiteY10" fmla="*/ 569854 h 2041182"/>
                <a:gd name="connsiteX11" fmla="*/ 729319 w 1421182"/>
                <a:gd name="connsiteY11" fmla="*/ 958061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78466 w 1421182"/>
                <a:gd name="connsiteY7" fmla="*/ 927074 h 2041182"/>
                <a:gd name="connsiteX8" fmla="*/ 927050 w 1421182"/>
                <a:gd name="connsiteY8" fmla="*/ 615190 h 2041182"/>
                <a:gd name="connsiteX9" fmla="*/ 957315 w 1421182"/>
                <a:gd name="connsiteY9" fmla="*/ 944404 h 2041182"/>
                <a:gd name="connsiteX10" fmla="*/ 711016 w 1421182"/>
                <a:gd name="connsiteY10" fmla="*/ 569854 h 2041182"/>
                <a:gd name="connsiteX11" fmla="*/ 729319 w 1421182"/>
                <a:gd name="connsiteY11" fmla="*/ 958061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68953 w 1421182"/>
                <a:gd name="connsiteY7" fmla="*/ 968296 h 2041182"/>
                <a:gd name="connsiteX8" fmla="*/ 927050 w 1421182"/>
                <a:gd name="connsiteY8" fmla="*/ 615190 h 2041182"/>
                <a:gd name="connsiteX9" fmla="*/ 957315 w 1421182"/>
                <a:gd name="connsiteY9" fmla="*/ 944404 h 2041182"/>
                <a:gd name="connsiteX10" fmla="*/ 711016 w 1421182"/>
                <a:gd name="connsiteY10" fmla="*/ 569854 h 2041182"/>
                <a:gd name="connsiteX11" fmla="*/ 729319 w 1421182"/>
                <a:gd name="connsiteY11" fmla="*/ 958061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68953 w 1421182"/>
                <a:gd name="connsiteY7" fmla="*/ 968296 h 2041182"/>
                <a:gd name="connsiteX8" fmla="*/ 927050 w 1421182"/>
                <a:gd name="connsiteY8" fmla="*/ 615190 h 2041182"/>
                <a:gd name="connsiteX9" fmla="*/ 957315 w 1421182"/>
                <a:gd name="connsiteY9" fmla="*/ 944404 h 2041182"/>
                <a:gd name="connsiteX10" fmla="*/ 711016 w 1421182"/>
                <a:gd name="connsiteY10" fmla="*/ 569854 h 2041182"/>
                <a:gd name="connsiteX11" fmla="*/ 729319 w 1421182"/>
                <a:gd name="connsiteY11" fmla="*/ 958061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62110 w 1421182"/>
                <a:gd name="connsiteY6" fmla="*/ 682000 h 2041182"/>
                <a:gd name="connsiteX7" fmla="*/ 1168953 w 1421182"/>
                <a:gd name="connsiteY7" fmla="*/ 968296 h 2041182"/>
                <a:gd name="connsiteX8" fmla="*/ 927050 w 1421182"/>
                <a:gd name="connsiteY8" fmla="*/ 615190 h 2041182"/>
                <a:gd name="connsiteX9" fmla="*/ 957315 w 1421182"/>
                <a:gd name="connsiteY9" fmla="*/ 944404 h 2041182"/>
                <a:gd name="connsiteX10" fmla="*/ 711016 w 1421182"/>
                <a:gd name="connsiteY10" fmla="*/ 569854 h 2041182"/>
                <a:gd name="connsiteX11" fmla="*/ 729319 w 1421182"/>
                <a:gd name="connsiteY11" fmla="*/ 958061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779 h 2041182"/>
                <a:gd name="connsiteX1" fmla="*/ 140932 w 1421182"/>
                <a:gd name="connsiteY1" fmla="*/ 1353553 h 2041182"/>
                <a:gd name="connsiteX2" fmla="*/ 309182 w 1421182"/>
                <a:gd name="connsiteY2" fmla="*/ 1711998 h 2041182"/>
                <a:gd name="connsiteX3" fmla="*/ 704202 w 1421182"/>
                <a:gd name="connsiteY3" fmla="*/ 2041182 h 2041182"/>
                <a:gd name="connsiteX4" fmla="*/ 1311364 w 1421182"/>
                <a:gd name="connsiteY4" fmla="*/ 2026552 h 2041182"/>
                <a:gd name="connsiteX5" fmla="*/ 1421092 w 1421182"/>
                <a:gd name="connsiteY5" fmla="*/ 1126782 h 2041182"/>
                <a:gd name="connsiteX6" fmla="*/ 1152597 w 1421182"/>
                <a:gd name="connsiteY6" fmla="*/ 669316 h 2041182"/>
                <a:gd name="connsiteX7" fmla="*/ 1168953 w 1421182"/>
                <a:gd name="connsiteY7" fmla="*/ 968296 h 2041182"/>
                <a:gd name="connsiteX8" fmla="*/ 927050 w 1421182"/>
                <a:gd name="connsiteY8" fmla="*/ 615190 h 2041182"/>
                <a:gd name="connsiteX9" fmla="*/ 957315 w 1421182"/>
                <a:gd name="connsiteY9" fmla="*/ 944404 h 2041182"/>
                <a:gd name="connsiteX10" fmla="*/ 711016 w 1421182"/>
                <a:gd name="connsiteY10" fmla="*/ 569854 h 2041182"/>
                <a:gd name="connsiteX11" fmla="*/ 729319 w 1421182"/>
                <a:gd name="connsiteY11" fmla="*/ 958061 h 2041182"/>
                <a:gd name="connsiteX12" fmla="*/ 543268 w 1421182"/>
                <a:gd name="connsiteY12" fmla="*/ 242 h 2041182"/>
                <a:gd name="connsiteX13" fmla="*/ 473286 w 1421182"/>
                <a:gd name="connsiteY13" fmla="*/ 1312361 h 2041182"/>
                <a:gd name="connsiteX14" fmla="*/ 338442 w 1421182"/>
                <a:gd name="connsiteY14" fmla="*/ 1258456 h 2041182"/>
                <a:gd name="connsiteX15" fmla="*/ 719 w 1421182"/>
                <a:gd name="connsiteY15" fmla="*/ 957779 h 2041182"/>
                <a:gd name="connsiteX0" fmla="*/ 719 w 1421182"/>
                <a:gd name="connsiteY0" fmla="*/ 957537 h 2040940"/>
                <a:gd name="connsiteX1" fmla="*/ 140932 w 1421182"/>
                <a:gd name="connsiteY1" fmla="*/ 1353311 h 2040940"/>
                <a:gd name="connsiteX2" fmla="*/ 309182 w 1421182"/>
                <a:gd name="connsiteY2" fmla="*/ 1711756 h 2040940"/>
                <a:gd name="connsiteX3" fmla="*/ 704202 w 1421182"/>
                <a:gd name="connsiteY3" fmla="*/ 2040940 h 2040940"/>
                <a:gd name="connsiteX4" fmla="*/ 1311364 w 1421182"/>
                <a:gd name="connsiteY4" fmla="*/ 2026310 h 2040940"/>
                <a:gd name="connsiteX5" fmla="*/ 1421092 w 1421182"/>
                <a:gd name="connsiteY5" fmla="*/ 1126540 h 2040940"/>
                <a:gd name="connsiteX6" fmla="*/ 1152597 w 1421182"/>
                <a:gd name="connsiteY6" fmla="*/ 669074 h 2040940"/>
                <a:gd name="connsiteX7" fmla="*/ 1168953 w 1421182"/>
                <a:gd name="connsiteY7" fmla="*/ 968054 h 2040940"/>
                <a:gd name="connsiteX8" fmla="*/ 927050 w 1421182"/>
                <a:gd name="connsiteY8" fmla="*/ 614948 h 2040940"/>
                <a:gd name="connsiteX9" fmla="*/ 957315 w 1421182"/>
                <a:gd name="connsiteY9" fmla="*/ 944162 h 2040940"/>
                <a:gd name="connsiteX10" fmla="*/ 711016 w 1421182"/>
                <a:gd name="connsiteY10" fmla="*/ 569612 h 2040940"/>
                <a:gd name="connsiteX11" fmla="*/ 729319 w 1421182"/>
                <a:gd name="connsiteY11" fmla="*/ 957819 h 2040940"/>
                <a:gd name="connsiteX12" fmla="*/ 543268 w 1421182"/>
                <a:gd name="connsiteY12" fmla="*/ 0 h 2040940"/>
                <a:gd name="connsiteX13" fmla="*/ 473286 w 1421182"/>
                <a:gd name="connsiteY13" fmla="*/ 1312119 h 2040940"/>
                <a:gd name="connsiteX14" fmla="*/ 338442 w 1421182"/>
                <a:gd name="connsiteY14" fmla="*/ 1258214 h 2040940"/>
                <a:gd name="connsiteX15" fmla="*/ 719 w 1421182"/>
                <a:gd name="connsiteY15" fmla="*/ 957537 h 2040940"/>
                <a:gd name="connsiteX0" fmla="*/ 719 w 1421182"/>
                <a:gd name="connsiteY0" fmla="*/ 957545 h 2040948"/>
                <a:gd name="connsiteX1" fmla="*/ 140932 w 1421182"/>
                <a:gd name="connsiteY1" fmla="*/ 1353319 h 2040948"/>
                <a:gd name="connsiteX2" fmla="*/ 309182 w 1421182"/>
                <a:gd name="connsiteY2" fmla="*/ 1711764 h 2040948"/>
                <a:gd name="connsiteX3" fmla="*/ 704202 w 1421182"/>
                <a:gd name="connsiteY3" fmla="*/ 2040948 h 2040948"/>
                <a:gd name="connsiteX4" fmla="*/ 1311364 w 1421182"/>
                <a:gd name="connsiteY4" fmla="*/ 2026318 h 2040948"/>
                <a:gd name="connsiteX5" fmla="*/ 1421092 w 1421182"/>
                <a:gd name="connsiteY5" fmla="*/ 1126548 h 2040948"/>
                <a:gd name="connsiteX6" fmla="*/ 1152597 w 1421182"/>
                <a:gd name="connsiteY6" fmla="*/ 669082 h 2040948"/>
                <a:gd name="connsiteX7" fmla="*/ 1168953 w 1421182"/>
                <a:gd name="connsiteY7" fmla="*/ 968062 h 2040948"/>
                <a:gd name="connsiteX8" fmla="*/ 927050 w 1421182"/>
                <a:gd name="connsiteY8" fmla="*/ 614956 h 2040948"/>
                <a:gd name="connsiteX9" fmla="*/ 957315 w 1421182"/>
                <a:gd name="connsiteY9" fmla="*/ 944170 h 2040948"/>
                <a:gd name="connsiteX10" fmla="*/ 711016 w 1421182"/>
                <a:gd name="connsiteY10" fmla="*/ 569620 h 2040948"/>
                <a:gd name="connsiteX11" fmla="*/ 729319 w 1421182"/>
                <a:gd name="connsiteY11" fmla="*/ 957827 h 2040948"/>
                <a:gd name="connsiteX12" fmla="*/ 543268 w 1421182"/>
                <a:gd name="connsiteY12" fmla="*/ 8 h 2040948"/>
                <a:gd name="connsiteX13" fmla="*/ 473286 w 1421182"/>
                <a:gd name="connsiteY13" fmla="*/ 1312127 h 2040948"/>
                <a:gd name="connsiteX14" fmla="*/ 338442 w 1421182"/>
                <a:gd name="connsiteY14" fmla="*/ 1258222 h 2040948"/>
                <a:gd name="connsiteX15" fmla="*/ 719 w 1421182"/>
                <a:gd name="connsiteY15" fmla="*/ 957545 h 2040948"/>
                <a:gd name="connsiteX0" fmla="*/ 719 w 1421182"/>
                <a:gd name="connsiteY0" fmla="*/ 957545 h 2040948"/>
                <a:gd name="connsiteX1" fmla="*/ 140932 w 1421182"/>
                <a:gd name="connsiteY1" fmla="*/ 1353319 h 2040948"/>
                <a:gd name="connsiteX2" fmla="*/ 309182 w 1421182"/>
                <a:gd name="connsiteY2" fmla="*/ 1711764 h 2040948"/>
                <a:gd name="connsiteX3" fmla="*/ 704202 w 1421182"/>
                <a:gd name="connsiteY3" fmla="*/ 2040948 h 2040948"/>
                <a:gd name="connsiteX4" fmla="*/ 1311364 w 1421182"/>
                <a:gd name="connsiteY4" fmla="*/ 2026318 h 2040948"/>
                <a:gd name="connsiteX5" fmla="*/ 1421092 w 1421182"/>
                <a:gd name="connsiteY5" fmla="*/ 1126548 h 2040948"/>
                <a:gd name="connsiteX6" fmla="*/ 1152597 w 1421182"/>
                <a:gd name="connsiteY6" fmla="*/ 669082 h 2040948"/>
                <a:gd name="connsiteX7" fmla="*/ 1168953 w 1421182"/>
                <a:gd name="connsiteY7" fmla="*/ 968062 h 2040948"/>
                <a:gd name="connsiteX8" fmla="*/ 927050 w 1421182"/>
                <a:gd name="connsiteY8" fmla="*/ 614956 h 2040948"/>
                <a:gd name="connsiteX9" fmla="*/ 957315 w 1421182"/>
                <a:gd name="connsiteY9" fmla="*/ 944170 h 2040948"/>
                <a:gd name="connsiteX10" fmla="*/ 711016 w 1421182"/>
                <a:gd name="connsiteY10" fmla="*/ 569620 h 2040948"/>
                <a:gd name="connsiteX11" fmla="*/ 729319 w 1421182"/>
                <a:gd name="connsiteY11" fmla="*/ 957827 h 2040948"/>
                <a:gd name="connsiteX12" fmla="*/ 543268 w 1421182"/>
                <a:gd name="connsiteY12" fmla="*/ 8 h 2040948"/>
                <a:gd name="connsiteX13" fmla="*/ 473286 w 1421182"/>
                <a:gd name="connsiteY13" fmla="*/ 1312127 h 2040948"/>
                <a:gd name="connsiteX14" fmla="*/ 338442 w 1421182"/>
                <a:gd name="connsiteY14" fmla="*/ 1258222 h 2040948"/>
                <a:gd name="connsiteX15" fmla="*/ 719 w 1421182"/>
                <a:gd name="connsiteY15" fmla="*/ 957545 h 2040948"/>
                <a:gd name="connsiteX0" fmla="*/ 719 w 1421182"/>
                <a:gd name="connsiteY0" fmla="*/ 957545 h 2026318"/>
                <a:gd name="connsiteX1" fmla="*/ 140932 w 1421182"/>
                <a:gd name="connsiteY1" fmla="*/ 1353319 h 2026318"/>
                <a:gd name="connsiteX2" fmla="*/ 309182 w 1421182"/>
                <a:gd name="connsiteY2" fmla="*/ 1711764 h 2026318"/>
                <a:gd name="connsiteX3" fmla="*/ 693290 w 1421182"/>
                <a:gd name="connsiteY3" fmla="*/ 2019121 h 2026318"/>
                <a:gd name="connsiteX4" fmla="*/ 1311364 w 1421182"/>
                <a:gd name="connsiteY4" fmla="*/ 2026318 h 2026318"/>
                <a:gd name="connsiteX5" fmla="*/ 1421092 w 1421182"/>
                <a:gd name="connsiteY5" fmla="*/ 1126548 h 2026318"/>
                <a:gd name="connsiteX6" fmla="*/ 1152597 w 1421182"/>
                <a:gd name="connsiteY6" fmla="*/ 669082 h 2026318"/>
                <a:gd name="connsiteX7" fmla="*/ 1168953 w 1421182"/>
                <a:gd name="connsiteY7" fmla="*/ 968062 h 2026318"/>
                <a:gd name="connsiteX8" fmla="*/ 927050 w 1421182"/>
                <a:gd name="connsiteY8" fmla="*/ 614956 h 2026318"/>
                <a:gd name="connsiteX9" fmla="*/ 957315 w 1421182"/>
                <a:gd name="connsiteY9" fmla="*/ 944170 h 2026318"/>
                <a:gd name="connsiteX10" fmla="*/ 711016 w 1421182"/>
                <a:gd name="connsiteY10" fmla="*/ 569620 h 2026318"/>
                <a:gd name="connsiteX11" fmla="*/ 729319 w 1421182"/>
                <a:gd name="connsiteY11" fmla="*/ 957827 h 2026318"/>
                <a:gd name="connsiteX12" fmla="*/ 543268 w 1421182"/>
                <a:gd name="connsiteY12" fmla="*/ 8 h 2026318"/>
                <a:gd name="connsiteX13" fmla="*/ 473286 w 1421182"/>
                <a:gd name="connsiteY13" fmla="*/ 1312127 h 2026318"/>
                <a:gd name="connsiteX14" fmla="*/ 338442 w 1421182"/>
                <a:gd name="connsiteY14" fmla="*/ 1258222 h 2026318"/>
                <a:gd name="connsiteX15" fmla="*/ 719 w 1421182"/>
                <a:gd name="connsiteY15" fmla="*/ 957545 h 2026318"/>
                <a:gd name="connsiteX0" fmla="*/ 719 w 1421182"/>
                <a:gd name="connsiteY0" fmla="*/ 957545 h 2295953"/>
                <a:gd name="connsiteX1" fmla="*/ 140932 w 1421182"/>
                <a:gd name="connsiteY1" fmla="*/ 1353319 h 2295953"/>
                <a:gd name="connsiteX2" fmla="*/ 309182 w 1421182"/>
                <a:gd name="connsiteY2" fmla="*/ 1711764 h 2295953"/>
                <a:gd name="connsiteX3" fmla="*/ 693290 w 1421182"/>
                <a:gd name="connsiteY3" fmla="*/ 2019121 h 2295953"/>
                <a:gd name="connsiteX4" fmla="*/ 722524 w 1421182"/>
                <a:gd name="connsiteY4" fmla="*/ 2295953 h 2295953"/>
                <a:gd name="connsiteX5" fmla="*/ 1311364 w 1421182"/>
                <a:gd name="connsiteY5" fmla="*/ 2026318 h 2295953"/>
                <a:gd name="connsiteX6" fmla="*/ 1421092 w 1421182"/>
                <a:gd name="connsiteY6" fmla="*/ 1126548 h 2295953"/>
                <a:gd name="connsiteX7" fmla="*/ 1152597 w 1421182"/>
                <a:gd name="connsiteY7" fmla="*/ 669082 h 2295953"/>
                <a:gd name="connsiteX8" fmla="*/ 1168953 w 1421182"/>
                <a:gd name="connsiteY8" fmla="*/ 968062 h 2295953"/>
                <a:gd name="connsiteX9" fmla="*/ 927050 w 1421182"/>
                <a:gd name="connsiteY9" fmla="*/ 614956 h 2295953"/>
                <a:gd name="connsiteX10" fmla="*/ 957315 w 1421182"/>
                <a:gd name="connsiteY10" fmla="*/ 944170 h 2295953"/>
                <a:gd name="connsiteX11" fmla="*/ 711016 w 1421182"/>
                <a:gd name="connsiteY11" fmla="*/ 569620 h 2295953"/>
                <a:gd name="connsiteX12" fmla="*/ 729319 w 1421182"/>
                <a:gd name="connsiteY12" fmla="*/ 957827 h 2295953"/>
                <a:gd name="connsiteX13" fmla="*/ 543268 w 1421182"/>
                <a:gd name="connsiteY13" fmla="*/ 8 h 2295953"/>
                <a:gd name="connsiteX14" fmla="*/ 473286 w 1421182"/>
                <a:gd name="connsiteY14" fmla="*/ 1312127 h 2295953"/>
                <a:gd name="connsiteX15" fmla="*/ 338442 w 1421182"/>
                <a:gd name="connsiteY15" fmla="*/ 1258222 h 2295953"/>
                <a:gd name="connsiteX16" fmla="*/ 719 w 1421182"/>
                <a:gd name="connsiteY16" fmla="*/ 957545 h 2295953"/>
                <a:gd name="connsiteX0" fmla="*/ 719 w 1421182"/>
                <a:gd name="connsiteY0" fmla="*/ 957545 h 2317397"/>
                <a:gd name="connsiteX1" fmla="*/ 140932 w 1421182"/>
                <a:gd name="connsiteY1" fmla="*/ 1353319 h 2317397"/>
                <a:gd name="connsiteX2" fmla="*/ 309182 w 1421182"/>
                <a:gd name="connsiteY2" fmla="*/ 1711764 h 2317397"/>
                <a:gd name="connsiteX3" fmla="*/ 693290 w 1421182"/>
                <a:gd name="connsiteY3" fmla="*/ 2019121 h 2317397"/>
                <a:gd name="connsiteX4" fmla="*/ 722524 w 1421182"/>
                <a:gd name="connsiteY4" fmla="*/ 2295953 h 2317397"/>
                <a:gd name="connsiteX5" fmla="*/ 1170733 w 1421182"/>
                <a:gd name="connsiteY5" fmla="*/ 2300858 h 2317397"/>
                <a:gd name="connsiteX6" fmla="*/ 1311364 w 1421182"/>
                <a:gd name="connsiteY6" fmla="*/ 2026318 h 2317397"/>
                <a:gd name="connsiteX7" fmla="*/ 1421092 w 1421182"/>
                <a:gd name="connsiteY7" fmla="*/ 1126548 h 2317397"/>
                <a:gd name="connsiteX8" fmla="*/ 1152597 w 1421182"/>
                <a:gd name="connsiteY8" fmla="*/ 669082 h 2317397"/>
                <a:gd name="connsiteX9" fmla="*/ 1168953 w 1421182"/>
                <a:gd name="connsiteY9" fmla="*/ 968062 h 2317397"/>
                <a:gd name="connsiteX10" fmla="*/ 927050 w 1421182"/>
                <a:gd name="connsiteY10" fmla="*/ 614956 h 2317397"/>
                <a:gd name="connsiteX11" fmla="*/ 957315 w 1421182"/>
                <a:gd name="connsiteY11" fmla="*/ 944170 h 2317397"/>
                <a:gd name="connsiteX12" fmla="*/ 711016 w 1421182"/>
                <a:gd name="connsiteY12" fmla="*/ 569620 h 2317397"/>
                <a:gd name="connsiteX13" fmla="*/ 729319 w 1421182"/>
                <a:gd name="connsiteY13" fmla="*/ 957827 h 2317397"/>
                <a:gd name="connsiteX14" fmla="*/ 543268 w 1421182"/>
                <a:gd name="connsiteY14" fmla="*/ 8 h 2317397"/>
                <a:gd name="connsiteX15" fmla="*/ 473286 w 1421182"/>
                <a:gd name="connsiteY15" fmla="*/ 1312127 h 2317397"/>
                <a:gd name="connsiteX16" fmla="*/ 338442 w 1421182"/>
                <a:gd name="connsiteY16" fmla="*/ 1258222 h 2317397"/>
                <a:gd name="connsiteX17" fmla="*/ 719 w 1421182"/>
                <a:gd name="connsiteY17" fmla="*/ 957545 h 2317397"/>
                <a:gd name="connsiteX0" fmla="*/ 719 w 1421182"/>
                <a:gd name="connsiteY0" fmla="*/ 957545 h 2317397"/>
                <a:gd name="connsiteX1" fmla="*/ 140932 w 1421182"/>
                <a:gd name="connsiteY1" fmla="*/ 1353319 h 2317397"/>
                <a:gd name="connsiteX2" fmla="*/ 309182 w 1421182"/>
                <a:gd name="connsiteY2" fmla="*/ 1711764 h 2317397"/>
                <a:gd name="connsiteX3" fmla="*/ 626141 w 1421182"/>
                <a:gd name="connsiteY3" fmla="*/ 1985150 h 2317397"/>
                <a:gd name="connsiteX4" fmla="*/ 722524 w 1421182"/>
                <a:gd name="connsiteY4" fmla="*/ 2295953 h 2317397"/>
                <a:gd name="connsiteX5" fmla="*/ 1170733 w 1421182"/>
                <a:gd name="connsiteY5" fmla="*/ 2300858 h 2317397"/>
                <a:gd name="connsiteX6" fmla="*/ 1311364 w 1421182"/>
                <a:gd name="connsiteY6" fmla="*/ 2026318 h 2317397"/>
                <a:gd name="connsiteX7" fmla="*/ 1421092 w 1421182"/>
                <a:gd name="connsiteY7" fmla="*/ 1126548 h 2317397"/>
                <a:gd name="connsiteX8" fmla="*/ 1152597 w 1421182"/>
                <a:gd name="connsiteY8" fmla="*/ 669082 h 2317397"/>
                <a:gd name="connsiteX9" fmla="*/ 1168953 w 1421182"/>
                <a:gd name="connsiteY9" fmla="*/ 968062 h 2317397"/>
                <a:gd name="connsiteX10" fmla="*/ 927050 w 1421182"/>
                <a:gd name="connsiteY10" fmla="*/ 614956 h 2317397"/>
                <a:gd name="connsiteX11" fmla="*/ 957315 w 1421182"/>
                <a:gd name="connsiteY11" fmla="*/ 944170 h 2317397"/>
                <a:gd name="connsiteX12" fmla="*/ 711016 w 1421182"/>
                <a:gd name="connsiteY12" fmla="*/ 569620 h 2317397"/>
                <a:gd name="connsiteX13" fmla="*/ 729319 w 1421182"/>
                <a:gd name="connsiteY13" fmla="*/ 957827 h 2317397"/>
                <a:gd name="connsiteX14" fmla="*/ 543268 w 1421182"/>
                <a:gd name="connsiteY14" fmla="*/ 8 h 2317397"/>
                <a:gd name="connsiteX15" fmla="*/ 473286 w 1421182"/>
                <a:gd name="connsiteY15" fmla="*/ 1312127 h 2317397"/>
                <a:gd name="connsiteX16" fmla="*/ 338442 w 1421182"/>
                <a:gd name="connsiteY16" fmla="*/ 1258222 h 2317397"/>
                <a:gd name="connsiteX17" fmla="*/ 719 w 1421182"/>
                <a:gd name="connsiteY17" fmla="*/ 957545 h 2317397"/>
                <a:gd name="connsiteX0" fmla="*/ 719 w 1421182"/>
                <a:gd name="connsiteY0" fmla="*/ 957545 h 2314785"/>
                <a:gd name="connsiteX1" fmla="*/ 140932 w 1421182"/>
                <a:gd name="connsiteY1" fmla="*/ 1353319 h 2314785"/>
                <a:gd name="connsiteX2" fmla="*/ 309182 w 1421182"/>
                <a:gd name="connsiteY2" fmla="*/ 1711764 h 2314785"/>
                <a:gd name="connsiteX3" fmla="*/ 626141 w 1421182"/>
                <a:gd name="connsiteY3" fmla="*/ 1985150 h 2314785"/>
                <a:gd name="connsiteX4" fmla="*/ 658780 w 1421182"/>
                <a:gd name="connsiteY4" fmla="*/ 2266927 h 2314785"/>
                <a:gd name="connsiteX5" fmla="*/ 1170733 w 1421182"/>
                <a:gd name="connsiteY5" fmla="*/ 2300858 h 2314785"/>
                <a:gd name="connsiteX6" fmla="*/ 1311364 w 1421182"/>
                <a:gd name="connsiteY6" fmla="*/ 2026318 h 2314785"/>
                <a:gd name="connsiteX7" fmla="*/ 1421092 w 1421182"/>
                <a:gd name="connsiteY7" fmla="*/ 1126548 h 2314785"/>
                <a:gd name="connsiteX8" fmla="*/ 1152597 w 1421182"/>
                <a:gd name="connsiteY8" fmla="*/ 669082 h 2314785"/>
                <a:gd name="connsiteX9" fmla="*/ 1168953 w 1421182"/>
                <a:gd name="connsiteY9" fmla="*/ 968062 h 2314785"/>
                <a:gd name="connsiteX10" fmla="*/ 927050 w 1421182"/>
                <a:gd name="connsiteY10" fmla="*/ 614956 h 2314785"/>
                <a:gd name="connsiteX11" fmla="*/ 957315 w 1421182"/>
                <a:gd name="connsiteY11" fmla="*/ 944170 h 2314785"/>
                <a:gd name="connsiteX12" fmla="*/ 711016 w 1421182"/>
                <a:gd name="connsiteY12" fmla="*/ 569620 h 2314785"/>
                <a:gd name="connsiteX13" fmla="*/ 729319 w 1421182"/>
                <a:gd name="connsiteY13" fmla="*/ 957827 h 2314785"/>
                <a:gd name="connsiteX14" fmla="*/ 543268 w 1421182"/>
                <a:gd name="connsiteY14" fmla="*/ 8 h 2314785"/>
                <a:gd name="connsiteX15" fmla="*/ 473286 w 1421182"/>
                <a:gd name="connsiteY15" fmla="*/ 1312127 h 2314785"/>
                <a:gd name="connsiteX16" fmla="*/ 338442 w 1421182"/>
                <a:gd name="connsiteY16" fmla="*/ 1258222 h 2314785"/>
                <a:gd name="connsiteX17" fmla="*/ 719 w 1421182"/>
                <a:gd name="connsiteY17" fmla="*/ 957545 h 2314785"/>
                <a:gd name="connsiteX0" fmla="*/ 719 w 1421182"/>
                <a:gd name="connsiteY0" fmla="*/ 957545 h 2323891"/>
                <a:gd name="connsiteX1" fmla="*/ 140932 w 1421182"/>
                <a:gd name="connsiteY1" fmla="*/ 1353319 h 2323891"/>
                <a:gd name="connsiteX2" fmla="*/ 309182 w 1421182"/>
                <a:gd name="connsiteY2" fmla="*/ 1711764 h 2323891"/>
                <a:gd name="connsiteX3" fmla="*/ 626141 w 1421182"/>
                <a:gd name="connsiteY3" fmla="*/ 1985150 h 2323891"/>
                <a:gd name="connsiteX4" fmla="*/ 658780 w 1421182"/>
                <a:gd name="connsiteY4" fmla="*/ 2266927 h 2323891"/>
                <a:gd name="connsiteX5" fmla="*/ 1170733 w 1421182"/>
                <a:gd name="connsiteY5" fmla="*/ 2300858 h 2323891"/>
                <a:gd name="connsiteX6" fmla="*/ 1311364 w 1421182"/>
                <a:gd name="connsiteY6" fmla="*/ 2026318 h 2323891"/>
                <a:gd name="connsiteX7" fmla="*/ 1421092 w 1421182"/>
                <a:gd name="connsiteY7" fmla="*/ 1126548 h 2323891"/>
                <a:gd name="connsiteX8" fmla="*/ 1152597 w 1421182"/>
                <a:gd name="connsiteY8" fmla="*/ 669082 h 2323891"/>
                <a:gd name="connsiteX9" fmla="*/ 1168953 w 1421182"/>
                <a:gd name="connsiteY9" fmla="*/ 968062 h 2323891"/>
                <a:gd name="connsiteX10" fmla="*/ 927050 w 1421182"/>
                <a:gd name="connsiteY10" fmla="*/ 614956 h 2323891"/>
                <a:gd name="connsiteX11" fmla="*/ 957315 w 1421182"/>
                <a:gd name="connsiteY11" fmla="*/ 944170 h 2323891"/>
                <a:gd name="connsiteX12" fmla="*/ 711016 w 1421182"/>
                <a:gd name="connsiteY12" fmla="*/ 569620 h 2323891"/>
                <a:gd name="connsiteX13" fmla="*/ 729319 w 1421182"/>
                <a:gd name="connsiteY13" fmla="*/ 957827 h 2323891"/>
                <a:gd name="connsiteX14" fmla="*/ 543268 w 1421182"/>
                <a:gd name="connsiteY14" fmla="*/ 8 h 2323891"/>
                <a:gd name="connsiteX15" fmla="*/ 473286 w 1421182"/>
                <a:gd name="connsiteY15" fmla="*/ 1312127 h 2323891"/>
                <a:gd name="connsiteX16" fmla="*/ 338442 w 1421182"/>
                <a:gd name="connsiteY16" fmla="*/ 1258222 h 2323891"/>
                <a:gd name="connsiteX17" fmla="*/ 719 w 1421182"/>
                <a:gd name="connsiteY17" fmla="*/ 957545 h 2323891"/>
                <a:gd name="connsiteX0" fmla="*/ 719 w 1421182"/>
                <a:gd name="connsiteY0" fmla="*/ 957545 h 2358736"/>
                <a:gd name="connsiteX1" fmla="*/ 140932 w 1421182"/>
                <a:gd name="connsiteY1" fmla="*/ 1353319 h 2358736"/>
                <a:gd name="connsiteX2" fmla="*/ 309182 w 1421182"/>
                <a:gd name="connsiteY2" fmla="*/ 1711764 h 2358736"/>
                <a:gd name="connsiteX3" fmla="*/ 626141 w 1421182"/>
                <a:gd name="connsiteY3" fmla="*/ 1985150 h 2358736"/>
                <a:gd name="connsiteX4" fmla="*/ 658780 w 1421182"/>
                <a:gd name="connsiteY4" fmla="*/ 2266927 h 2358736"/>
                <a:gd name="connsiteX5" fmla="*/ 1227989 w 1421182"/>
                <a:gd name="connsiteY5" fmla="*/ 2341644 h 2358736"/>
                <a:gd name="connsiteX6" fmla="*/ 1311364 w 1421182"/>
                <a:gd name="connsiteY6" fmla="*/ 2026318 h 2358736"/>
                <a:gd name="connsiteX7" fmla="*/ 1421092 w 1421182"/>
                <a:gd name="connsiteY7" fmla="*/ 1126548 h 2358736"/>
                <a:gd name="connsiteX8" fmla="*/ 1152597 w 1421182"/>
                <a:gd name="connsiteY8" fmla="*/ 669082 h 2358736"/>
                <a:gd name="connsiteX9" fmla="*/ 1168953 w 1421182"/>
                <a:gd name="connsiteY9" fmla="*/ 968062 h 2358736"/>
                <a:gd name="connsiteX10" fmla="*/ 927050 w 1421182"/>
                <a:gd name="connsiteY10" fmla="*/ 614956 h 2358736"/>
                <a:gd name="connsiteX11" fmla="*/ 957315 w 1421182"/>
                <a:gd name="connsiteY11" fmla="*/ 944170 h 2358736"/>
                <a:gd name="connsiteX12" fmla="*/ 711016 w 1421182"/>
                <a:gd name="connsiteY12" fmla="*/ 569620 h 2358736"/>
                <a:gd name="connsiteX13" fmla="*/ 729319 w 1421182"/>
                <a:gd name="connsiteY13" fmla="*/ 957827 h 2358736"/>
                <a:gd name="connsiteX14" fmla="*/ 543268 w 1421182"/>
                <a:gd name="connsiteY14" fmla="*/ 8 h 2358736"/>
                <a:gd name="connsiteX15" fmla="*/ 473286 w 1421182"/>
                <a:gd name="connsiteY15" fmla="*/ 1312127 h 2358736"/>
                <a:gd name="connsiteX16" fmla="*/ 338442 w 1421182"/>
                <a:gd name="connsiteY16" fmla="*/ 1258222 h 2358736"/>
                <a:gd name="connsiteX17" fmla="*/ 719 w 1421182"/>
                <a:gd name="connsiteY17" fmla="*/ 957545 h 2358736"/>
                <a:gd name="connsiteX0" fmla="*/ 719 w 1421182"/>
                <a:gd name="connsiteY0" fmla="*/ 957545 h 2341644"/>
                <a:gd name="connsiteX1" fmla="*/ 140932 w 1421182"/>
                <a:gd name="connsiteY1" fmla="*/ 1353319 h 2341644"/>
                <a:gd name="connsiteX2" fmla="*/ 309182 w 1421182"/>
                <a:gd name="connsiteY2" fmla="*/ 1711764 h 2341644"/>
                <a:gd name="connsiteX3" fmla="*/ 626141 w 1421182"/>
                <a:gd name="connsiteY3" fmla="*/ 1985150 h 2341644"/>
                <a:gd name="connsiteX4" fmla="*/ 658780 w 1421182"/>
                <a:gd name="connsiteY4" fmla="*/ 2266927 h 2341644"/>
                <a:gd name="connsiteX5" fmla="*/ 1227989 w 1421182"/>
                <a:gd name="connsiteY5" fmla="*/ 2341644 h 2341644"/>
                <a:gd name="connsiteX6" fmla="*/ 1311364 w 1421182"/>
                <a:gd name="connsiteY6" fmla="*/ 2026318 h 2341644"/>
                <a:gd name="connsiteX7" fmla="*/ 1421092 w 1421182"/>
                <a:gd name="connsiteY7" fmla="*/ 1126548 h 2341644"/>
                <a:gd name="connsiteX8" fmla="*/ 1152597 w 1421182"/>
                <a:gd name="connsiteY8" fmla="*/ 669082 h 2341644"/>
                <a:gd name="connsiteX9" fmla="*/ 1168953 w 1421182"/>
                <a:gd name="connsiteY9" fmla="*/ 968062 h 2341644"/>
                <a:gd name="connsiteX10" fmla="*/ 927050 w 1421182"/>
                <a:gd name="connsiteY10" fmla="*/ 614956 h 2341644"/>
                <a:gd name="connsiteX11" fmla="*/ 957315 w 1421182"/>
                <a:gd name="connsiteY11" fmla="*/ 944170 h 2341644"/>
                <a:gd name="connsiteX12" fmla="*/ 711016 w 1421182"/>
                <a:gd name="connsiteY12" fmla="*/ 569620 h 2341644"/>
                <a:gd name="connsiteX13" fmla="*/ 729319 w 1421182"/>
                <a:gd name="connsiteY13" fmla="*/ 957827 h 2341644"/>
                <a:gd name="connsiteX14" fmla="*/ 543268 w 1421182"/>
                <a:gd name="connsiteY14" fmla="*/ 8 h 2341644"/>
                <a:gd name="connsiteX15" fmla="*/ 473286 w 1421182"/>
                <a:gd name="connsiteY15" fmla="*/ 1312127 h 2341644"/>
                <a:gd name="connsiteX16" fmla="*/ 338442 w 1421182"/>
                <a:gd name="connsiteY16" fmla="*/ 1258222 h 2341644"/>
                <a:gd name="connsiteX17" fmla="*/ 719 w 1421182"/>
                <a:gd name="connsiteY17" fmla="*/ 957545 h 2341644"/>
                <a:gd name="connsiteX0" fmla="*/ 719 w 1421092"/>
                <a:gd name="connsiteY0" fmla="*/ 957545 h 2341644"/>
                <a:gd name="connsiteX1" fmla="*/ 140932 w 1421092"/>
                <a:gd name="connsiteY1" fmla="*/ 1353319 h 2341644"/>
                <a:gd name="connsiteX2" fmla="*/ 309182 w 1421092"/>
                <a:gd name="connsiteY2" fmla="*/ 1711764 h 2341644"/>
                <a:gd name="connsiteX3" fmla="*/ 626141 w 1421092"/>
                <a:gd name="connsiteY3" fmla="*/ 1985150 h 2341644"/>
                <a:gd name="connsiteX4" fmla="*/ 658780 w 1421092"/>
                <a:gd name="connsiteY4" fmla="*/ 2266927 h 2341644"/>
                <a:gd name="connsiteX5" fmla="*/ 1227989 w 1421092"/>
                <a:gd name="connsiteY5" fmla="*/ 2341644 h 2341644"/>
                <a:gd name="connsiteX6" fmla="*/ 1262460 w 1421092"/>
                <a:gd name="connsiteY6" fmla="*/ 1987074 h 2341644"/>
                <a:gd name="connsiteX7" fmla="*/ 1421092 w 1421092"/>
                <a:gd name="connsiteY7" fmla="*/ 1126548 h 2341644"/>
                <a:gd name="connsiteX8" fmla="*/ 1152597 w 1421092"/>
                <a:gd name="connsiteY8" fmla="*/ 669082 h 2341644"/>
                <a:gd name="connsiteX9" fmla="*/ 1168953 w 1421092"/>
                <a:gd name="connsiteY9" fmla="*/ 968062 h 2341644"/>
                <a:gd name="connsiteX10" fmla="*/ 927050 w 1421092"/>
                <a:gd name="connsiteY10" fmla="*/ 614956 h 2341644"/>
                <a:gd name="connsiteX11" fmla="*/ 957315 w 1421092"/>
                <a:gd name="connsiteY11" fmla="*/ 944170 h 2341644"/>
                <a:gd name="connsiteX12" fmla="*/ 711016 w 1421092"/>
                <a:gd name="connsiteY12" fmla="*/ 569620 h 2341644"/>
                <a:gd name="connsiteX13" fmla="*/ 729319 w 1421092"/>
                <a:gd name="connsiteY13" fmla="*/ 957827 h 2341644"/>
                <a:gd name="connsiteX14" fmla="*/ 543268 w 1421092"/>
                <a:gd name="connsiteY14" fmla="*/ 8 h 2341644"/>
                <a:gd name="connsiteX15" fmla="*/ 473286 w 1421092"/>
                <a:gd name="connsiteY15" fmla="*/ 1312127 h 2341644"/>
                <a:gd name="connsiteX16" fmla="*/ 338442 w 1421092"/>
                <a:gd name="connsiteY16" fmla="*/ 1258222 h 2341644"/>
                <a:gd name="connsiteX17" fmla="*/ 719 w 1421092"/>
                <a:gd name="connsiteY17" fmla="*/ 957545 h 2341644"/>
                <a:gd name="connsiteX0" fmla="*/ 719 w 1421109"/>
                <a:gd name="connsiteY0" fmla="*/ 957545 h 2341644"/>
                <a:gd name="connsiteX1" fmla="*/ 140932 w 1421109"/>
                <a:gd name="connsiteY1" fmla="*/ 1353319 h 2341644"/>
                <a:gd name="connsiteX2" fmla="*/ 309182 w 1421109"/>
                <a:gd name="connsiteY2" fmla="*/ 1711764 h 2341644"/>
                <a:gd name="connsiteX3" fmla="*/ 626141 w 1421109"/>
                <a:gd name="connsiteY3" fmla="*/ 1985150 h 2341644"/>
                <a:gd name="connsiteX4" fmla="*/ 658780 w 1421109"/>
                <a:gd name="connsiteY4" fmla="*/ 2266927 h 2341644"/>
                <a:gd name="connsiteX5" fmla="*/ 1227989 w 1421109"/>
                <a:gd name="connsiteY5" fmla="*/ 2341644 h 2341644"/>
                <a:gd name="connsiteX6" fmla="*/ 1262460 w 1421109"/>
                <a:gd name="connsiteY6" fmla="*/ 1987074 h 2341644"/>
                <a:gd name="connsiteX7" fmla="*/ 1421092 w 1421109"/>
                <a:gd name="connsiteY7" fmla="*/ 1126548 h 2341644"/>
                <a:gd name="connsiteX8" fmla="*/ 1152597 w 1421109"/>
                <a:gd name="connsiteY8" fmla="*/ 669082 h 2341644"/>
                <a:gd name="connsiteX9" fmla="*/ 1168953 w 1421109"/>
                <a:gd name="connsiteY9" fmla="*/ 968062 h 2341644"/>
                <a:gd name="connsiteX10" fmla="*/ 927050 w 1421109"/>
                <a:gd name="connsiteY10" fmla="*/ 614956 h 2341644"/>
                <a:gd name="connsiteX11" fmla="*/ 957315 w 1421109"/>
                <a:gd name="connsiteY11" fmla="*/ 944170 h 2341644"/>
                <a:gd name="connsiteX12" fmla="*/ 711016 w 1421109"/>
                <a:gd name="connsiteY12" fmla="*/ 569620 h 2341644"/>
                <a:gd name="connsiteX13" fmla="*/ 729319 w 1421109"/>
                <a:gd name="connsiteY13" fmla="*/ 957827 h 2341644"/>
                <a:gd name="connsiteX14" fmla="*/ 543268 w 1421109"/>
                <a:gd name="connsiteY14" fmla="*/ 8 h 2341644"/>
                <a:gd name="connsiteX15" fmla="*/ 473286 w 1421109"/>
                <a:gd name="connsiteY15" fmla="*/ 1312127 h 2341644"/>
                <a:gd name="connsiteX16" fmla="*/ 338442 w 1421109"/>
                <a:gd name="connsiteY16" fmla="*/ 1258222 h 2341644"/>
                <a:gd name="connsiteX17" fmla="*/ 719 w 1421109"/>
                <a:gd name="connsiteY17" fmla="*/ 957545 h 2341644"/>
                <a:gd name="connsiteX0" fmla="*/ 719 w 1421109"/>
                <a:gd name="connsiteY0" fmla="*/ 957545 h 2341644"/>
                <a:gd name="connsiteX1" fmla="*/ 140932 w 1421109"/>
                <a:gd name="connsiteY1" fmla="*/ 1353319 h 2341644"/>
                <a:gd name="connsiteX2" fmla="*/ 309182 w 1421109"/>
                <a:gd name="connsiteY2" fmla="*/ 1711764 h 2341644"/>
                <a:gd name="connsiteX3" fmla="*/ 626141 w 1421109"/>
                <a:gd name="connsiteY3" fmla="*/ 1985150 h 2341644"/>
                <a:gd name="connsiteX4" fmla="*/ 658780 w 1421109"/>
                <a:gd name="connsiteY4" fmla="*/ 2266927 h 2341644"/>
                <a:gd name="connsiteX5" fmla="*/ 1227989 w 1421109"/>
                <a:gd name="connsiteY5" fmla="*/ 2341644 h 2341644"/>
                <a:gd name="connsiteX6" fmla="*/ 1262460 w 1421109"/>
                <a:gd name="connsiteY6" fmla="*/ 1987074 h 2341644"/>
                <a:gd name="connsiteX7" fmla="*/ 1421092 w 1421109"/>
                <a:gd name="connsiteY7" fmla="*/ 1126548 h 2341644"/>
                <a:gd name="connsiteX8" fmla="*/ 1152597 w 1421109"/>
                <a:gd name="connsiteY8" fmla="*/ 669082 h 2341644"/>
                <a:gd name="connsiteX9" fmla="*/ 1168953 w 1421109"/>
                <a:gd name="connsiteY9" fmla="*/ 968062 h 2341644"/>
                <a:gd name="connsiteX10" fmla="*/ 927050 w 1421109"/>
                <a:gd name="connsiteY10" fmla="*/ 614956 h 2341644"/>
                <a:gd name="connsiteX11" fmla="*/ 957315 w 1421109"/>
                <a:gd name="connsiteY11" fmla="*/ 944170 h 2341644"/>
                <a:gd name="connsiteX12" fmla="*/ 711016 w 1421109"/>
                <a:gd name="connsiteY12" fmla="*/ 569620 h 2341644"/>
                <a:gd name="connsiteX13" fmla="*/ 729319 w 1421109"/>
                <a:gd name="connsiteY13" fmla="*/ 957827 h 2341644"/>
                <a:gd name="connsiteX14" fmla="*/ 543268 w 1421109"/>
                <a:gd name="connsiteY14" fmla="*/ 8 h 2341644"/>
                <a:gd name="connsiteX15" fmla="*/ 473286 w 1421109"/>
                <a:gd name="connsiteY15" fmla="*/ 1312127 h 2341644"/>
                <a:gd name="connsiteX16" fmla="*/ 338442 w 1421109"/>
                <a:gd name="connsiteY16" fmla="*/ 1258222 h 2341644"/>
                <a:gd name="connsiteX17" fmla="*/ 719 w 1421109"/>
                <a:gd name="connsiteY17" fmla="*/ 957545 h 2341644"/>
                <a:gd name="connsiteX0" fmla="*/ 719 w 1421109"/>
                <a:gd name="connsiteY0" fmla="*/ 957545 h 2341644"/>
                <a:gd name="connsiteX1" fmla="*/ 140932 w 1421109"/>
                <a:gd name="connsiteY1" fmla="*/ 1353319 h 2341644"/>
                <a:gd name="connsiteX2" fmla="*/ 309182 w 1421109"/>
                <a:gd name="connsiteY2" fmla="*/ 1711764 h 2341644"/>
                <a:gd name="connsiteX3" fmla="*/ 626141 w 1421109"/>
                <a:gd name="connsiteY3" fmla="*/ 1985150 h 2341644"/>
                <a:gd name="connsiteX4" fmla="*/ 622941 w 1421109"/>
                <a:gd name="connsiteY4" fmla="*/ 2320778 h 2341644"/>
                <a:gd name="connsiteX5" fmla="*/ 1227989 w 1421109"/>
                <a:gd name="connsiteY5" fmla="*/ 2341644 h 2341644"/>
                <a:gd name="connsiteX6" fmla="*/ 1262460 w 1421109"/>
                <a:gd name="connsiteY6" fmla="*/ 1987074 h 2341644"/>
                <a:gd name="connsiteX7" fmla="*/ 1421092 w 1421109"/>
                <a:gd name="connsiteY7" fmla="*/ 1126548 h 2341644"/>
                <a:gd name="connsiteX8" fmla="*/ 1152597 w 1421109"/>
                <a:gd name="connsiteY8" fmla="*/ 669082 h 2341644"/>
                <a:gd name="connsiteX9" fmla="*/ 1168953 w 1421109"/>
                <a:gd name="connsiteY9" fmla="*/ 968062 h 2341644"/>
                <a:gd name="connsiteX10" fmla="*/ 927050 w 1421109"/>
                <a:gd name="connsiteY10" fmla="*/ 614956 h 2341644"/>
                <a:gd name="connsiteX11" fmla="*/ 957315 w 1421109"/>
                <a:gd name="connsiteY11" fmla="*/ 944170 h 2341644"/>
                <a:gd name="connsiteX12" fmla="*/ 711016 w 1421109"/>
                <a:gd name="connsiteY12" fmla="*/ 569620 h 2341644"/>
                <a:gd name="connsiteX13" fmla="*/ 729319 w 1421109"/>
                <a:gd name="connsiteY13" fmla="*/ 957827 h 2341644"/>
                <a:gd name="connsiteX14" fmla="*/ 543268 w 1421109"/>
                <a:gd name="connsiteY14" fmla="*/ 8 h 2341644"/>
                <a:gd name="connsiteX15" fmla="*/ 473286 w 1421109"/>
                <a:gd name="connsiteY15" fmla="*/ 1312127 h 2341644"/>
                <a:gd name="connsiteX16" fmla="*/ 338442 w 1421109"/>
                <a:gd name="connsiteY16" fmla="*/ 1258222 h 2341644"/>
                <a:gd name="connsiteX17" fmla="*/ 719 w 1421109"/>
                <a:gd name="connsiteY17" fmla="*/ 957545 h 2341644"/>
                <a:gd name="connsiteX0" fmla="*/ 719 w 1421109"/>
                <a:gd name="connsiteY0" fmla="*/ 957545 h 2341644"/>
                <a:gd name="connsiteX1" fmla="*/ 140932 w 1421109"/>
                <a:gd name="connsiteY1" fmla="*/ 1353319 h 2341644"/>
                <a:gd name="connsiteX2" fmla="*/ 309182 w 1421109"/>
                <a:gd name="connsiteY2" fmla="*/ 1711764 h 2341644"/>
                <a:gd name="connsiteX3" fmla="*/ 548773 w 1421109"/>
                <a:gd name="connsiteY3" fmla="*/ 1936338 h 2341644"/>
                <a:gd name="connsiteX4" fmla="*/ 622941 w 1421109"/>
                <a:gd name="connsiteY4" fmla="*/ 2320778 h 2341644"/>
                <a:gd name="connsiteX5" fmla="*/ 1227989 w 1421109"/>
                <a:gd name="connsiteY5" fmla="*/ 2341644 h 2341644"/>
                <a:gd name="connsiteX6" fmla="*/ 1262460 w 1421109"/>
                <a:gd name="connsiteY6" fmla="*/ 1987074 h 2341644"/>
                <a:gd name="connsiteX7" fmla="*/ 1421092 w 1421109"/>
                <a:gd name="connsiteY7" fmla="*/ 1126548 h 2341644"/>
                <a:gd name="connsiteX8" fmla="*/ 1152597 w 1421109"/>
                <a:gd name="connsiteY8" fmla="*/ 669082 h 2341644"/>
                <a:gd name="connsiteX9" fmla="*/ 1168953 w 1421109"/>
                <a:gd name="connsiteY9" fmla="*/ 968062 h 2341644"/>
                <a:gd name="connsiteX10" fmla="*/ 927050 w 1421109"/>
                <a:gd name="connsiteY10" fmla="*/ 614956 h 2341644"/>
                <a:gd name="connsiteX11" fmla="*/ 957315 w 1421109"/>
                <a:gd name="connsiteY11" fmla="*/ 944170 h 2341644"/>
                <a:gd name="connsiteX12" fmla="*/ 711016 w 1421109"/>
                <a:gd name="connsiteY12" fmla="*/ 569620 h 2341644"/>
                <a:gd name="connsiteX13" fmla="*/ 729319 w 1421109"/>
                <a:gd name="connsiteY13" fmla="*/ 957827 h 2341644"/>
                <a:gd name="connsiteX14" fmla="*/ 543268 w 1421109"/>
                <a:gd name="connsiteY14" fmla="*/ 8 h 2341644"/>
                <a:gd name="connsiteX15" fmla="*/ 473286 w 1421109"/>
                <a:gd name="connsiteY15" fmla="*/ 1312127 h 2341644"/>
                <a:gd name="connsiteX16" fmla="*/ 338442 w 1421109"/>
                <a:gd name="connsiteY16" fmla="*/ 1258222 h 2341644"/>
                <a:gd name="connsiteX17" fmla="*/ 719 w 1421109"/>
                <a:gd name="connsiteY17" fmla="*/ 957545 h 2341644"/>
                <a:gd name="connsiteX0" fmla="*/ 719 w 1421109"/>
                <a:gd name="connsiteY0" fmla="*/ 957545 h 2341644"/>
                <a:gd name="connsiteX1" fmla="*/ 140932 w 1421109"/>
                <a:gd name="connsiteY1" fmla="*/ 1353319 h 2341644"/>
                <a:gd name="connsiteX2" fmla="*/ 309182 w 1421109"/>
                <a:gd name="connsiteY2" fmla="*/ 1711764 h 2341644"/>
                <a:gd name="connsiteX3" fmla="*/ 548773 w 1421109"/>
                <a:gd name="connsiteY3" fmla="*/ 1936338 h 2341644"/>
                <a:gd name="connsiteX4" fmla="*/ 557331 w 1421109"/>
                <a:gd name="connsiteY4" fmla="*/ 2278453 h 2341644"/>
                <a:gd name="connsiteX5" fmla="*/ 1227989 w 1421109"/>
                <a:gd name="connsiteY5" fmla="*/ 2341644 h 2341644"/>
                <a:gd name="connsiteX6" fmla="*/ 1262460 w 1421109"/>
                <a:gd name="connsiteY6" fmla="*/ 1987074 h 2341644"/>
                <a:gd name="connsiteX7" fmla="*/ 1421092 w 1421109"/>
                <a:gd name="connsiteY7" fmla="*/ 1126548 h 2341644"/>
                <a:gd name="connsiteX8" fmla="*/ 1152597 w 1421109"/>
                <a:gd name="connsiteY8" fmla="*/ 669082 h 2341644"/>
                <a:gd name="connsiteX9" fmla="*/ 1168953 w 1421109"/>
                <a:gd name="connsiteY9" fmla="*/ 968062 h 2341644"/>
                <a:gd name="connsiteX10" fmla="*/ 927050 w 1421109"/>
                <a:gd name="connsiteY10" fmla="*/ 614956 h 2341644"/>
                <a:gd name="connsiteX11" fmla="*/ 957315 w 1421109"/>
                <a:gd name="connsiteY11" fmla="*/ 944170 h 2341644"/>
                <a:gd name="connsiteX12" fmla="*/ 711016 w 1421109"/>
                <a:gd name="connsiteY12" fmla="*/ 569620 h 2341644"/>
                <a:gd name="connsiteX13" fmla="*/ 729319 w 1421109"/>
                <a:gd name="connsiteY13" fmla="*/ 957827 h 2341644"/>
                <a:gd name="connsiteX14" fmla="*/ 543268 w 1421109"/>
                <a:gd name="connsiteY14" fmla="*/ 8 h 2341644"/>
                <a:gd name="connsiteX15" fmla="*/ 473286 w 1421109"/>
                <a:gd name="connsiteY15" fmla="*/ 1312127 h 2341644"/>
                <a:gd name="connsiteX16" fmla="*/ 338442 w 1421109"/>
                <a:gd name="connsiteY16" fmla="*/ 1258222 h 2341644"/>
                <a:gd name="connsiteX17" fmla="*/ 719 w 1421109"/>
                <a:gd name="connsiteY17" fmla="*/ 957545 h 2341644"/>
                <a:gd name="connsiteX0" fmla="*/ 719 w 1421109"/>
                <a:gd name="connsiteY0" fmla="*/ 957545 h 2341644"/>
                <a:gd name="connsiteX1" fmla="*/ 140932 w 1421109"/>
                <a:gd name="connsiteY1" fmla="*/ 1353319 h 2341644"/>
                <a:gd name="connsiteX2" fmla="*/ 309182 w 1421109"/>
                <a:gd name="connsiteY2" fmla="*/ 1711764 h 2341644"/>
                <a:gd name="connsiteX3" fmla="*/ 548773 w 1421109"/>
                <a:gd name="connsiteY3" fmla="*/ 1936338 h 2341644"/>
                <a:gd name="connsiteX4" fmla="*/ 601148 w 1421109"/>
                <a:gd name="connsiteY4" fmla="*/ 2297232 h 2341644"/>
                <a:gd name="connsiteX5" fmla="*/ 1227989 w 1421109"/>
                <a:gd name="connsiteY5" fmla="*/ 2341644 h 2341644"/>
                <a:gd name="connsiteX6" fmla="*/ 1262460 w 1421109"/>
                <a:gd name="connsiteY6" fmla="*/ 1987074 h 2341644"/>
                <a:gd name="connsiteX7" fmla="*/ 1421092 w 1421109"/>
                <a:gd name="connsiteY7" fmla="*/ 1126548 h 2341644"/>
                <a:gd name="connsiteX8" fmla="*/ 1152597 w 1421109"/>
                <a:gd name="connsiteY8" fmla="*/ 669082 h 2341644"/>
                <a:gd name="connsiteX9" fmla="*/ 1168953 w 1421109"/>
                <a:gd name="connsiteY9" fmla="*/ 968062 h 2341644"/>
                <a:gd name="connsiteX10" fmla="*/ 927050 w 1421109"/>
                <a:gd name="connsiteY10" fmla="*/ 614956 h 2341644"/>
                <a:gd name="connsiteX11" fmla="*/ 957315 w 1421109"/>
                <a:gd name="connsiteY11" fmla="*/ 944170 h 2341644"/>
                <a:gd name="connsiteX12" fmla="*/ 711016 w 1421109"/>
                <a:gd name="connsiteY12" fmla="*/ 569620 h 2341644"/>
                <a:gd name="connsiteX13" fmla="*/ 729319 w 1421109"/>
                <a:gd name="connsiteY13" fmla="*/ 957827 h 2341644"/>
                <a:gd name="connsiteX14" fmla="*/ 543268 w 1421109"/>
                <a:gd name="connsiteY14" fmla="*/ 8 h 2341644"/>
                <a:gd name="connsiteX15" fmla="*/ 473286 w 1421109"/>
                <a:gd name="connsiteY15" fmla="*/ 1312127 h 2341644"/>
                <a:gd name="connsiteX16" fmla="*/ 338442 w 1421109"/>
                <a:gd name="connsiteY16" fmla="*/ 1258222 h 2341644"/>
                <a:gd name="connsiteX17" fmla="*/ 719 w 1421109"/>
                <a:gd name="connsiteY17" fmla="*/ 957545 h 2341644"/>
                <a:gd name="connsiteX0" fmla="*/ 719 w 1421109"/>
                <a:gd name="connsiteY0" fmla="*/ 957545 h 2310754"/>
                <a:gd name="connsiteX1" fmla="*/ 140932 w 1421109"/>
                <a:gd name="connsiteY1" fmla="*/ 1353319 h 2310754"/>
                <a:gd name="connsiteX2" fmla="*/ 309182 w 1421109"/>
                <a:gd name="connsiteY2" fmla="*/ 1711764 h 2310754"/>
                <a:gd name="connsiteX3" fmla="*/ 548773 w 1421109"/>
                <a:gd name="connsiteY3" fmla="*/ 1936338 h 2310754"/>
                <a:gd name="connsiteX4" fmla="*/ 601148 w 1421109"/>
                <a:gd name="connsiteY4" fmla="*/ 2297232 h 2310754"/>
                <a:gd name="connsiteX5" fmla="*/ 1253027 w 1421109"/>
                <a:gd name="connsiteY5" fmla="*/ 2310347 h 2310754"/>
                <a:gd name="connsiteX6" fmla="*/ 1262460 w 1421109"/>
                <a:gd name="connsiteY6" fmla="*/ 1987074 h 2310754"/>
                <a:gd name="connsiteX7" fmla="*/ 1421092 w 1421109"/>
                <a:gd name="connsiteY7" fmla="*/ 1126548 h 2310754"/>
                <a:gd name="connsiteX8" fmla="*/ 1152597 w 1421109"/>
                <a:gd name="connsiteY8" fmla="*/ 669082 h 2310754"/>
                <a:gd name="connsiteX9" fmla="*/ 1168953 w 1421109"/>
                <a:gd name="connsiteY9" fmla="*/ 968062 h 2310754"/>
                <a:gd name="connsiteX10" fmla="*/ 927050 w 1421109"/>
                <a:gd name="connsiteY10" fmla="*/ 614956 h 2310754"/>
                <a:gd name="connsiteX11" fmla="*/ 957315 w 1421109"/>
                <a:gd name="connsiteY11" fmla="*/ 944170 h 2310754"/>
                <a:gd name="connsiteX12" fmla="*/ 711016 w 1421109"/>
                <a:gd name="connsiteY12" fmla="*/ 569620 h 2310754"/>
                <a:gd name="connsiteX13" fmla="*/ 729319 w 1421109"/>
                <a:gd name="connsiteY13" fmla="*/ 957827 h 2310754"/>
                <a:gd name="connsiteX14" fmla="*/ 543268 w 1421109"/>
                <a:gd name="connsiteY14" fmla="*/ 8 h 2310754"/>
                <a:gd name="connsiteX15" fmla="*/ 473286 w 1421109"/>
                <a:gd name="connsiteY15" fmla="*/ 1312127 h 2310754"/>
                <a:gd name="connsiteX16" fmla="*/ 338442 w 1421109"/>
                <a:gd name="connsiteY16" fmla="*/ 1258222 h 2310754"/>
                <a:gd name="connsiteX17" fmla="*/ 719 w 1421109"/>
                <a:gd name="connsiteY17" fmla="*/ 957545 h 2310754"/>
                <a:gd name="connsiteX0" fmla="*/ 719 w 1421109"/>
                <a:gd name="connsiteY0" fmla="*/ 957545 h 2310755"/>
                <a:gd name="connsiteX1" fmla="*/ 140932 w 1421109"/>
                <a:gd name="connsiteY1" fmla="*/ 1353319 h 2310755"/>
                <a:gd name="connsiteX2" fmla="*/ 309182 w 1421109"/>
                <a:gd name="connsiteY2" fmla="*/ 1711764 h 2310755"/>
                <a:gd name="connsiteX3" fmla="*/ 548773 w 1421109"/>
                <a:gd name="connsiteY3" fmla="*/ 1936338 h 2310755"/>
                <a:gd name="connsiteX4" fmla="*/ 601148 w 1421109"/>
                <a:gd name="connsiteY4" fmla="*/ 2297232 h 2310755"/>
                <a:gd name="connsiteX5" fmla="*/ 1253027 w 1421109"/>
                <a:gd name="connsiteY5" fmla="*/ 2310347 h 2310755"/>
                <a:gd name="connsiteX6" fmla="*/ 1262460 w 1421109"/>
                <a:gd name="connsiteY6" fmla="*/ 1987074 h 2310755"/>
                <a:gd name="connsiteX7" fmla="*/ 1421092 w 1421109"/>
                <a:gd name="connsiteY7" fmla="*/ 1126548 h 2310755"/>
                <a:gd name="connsiteX8" fmla="*/ 1152597 w 1421109"/>
                <a:gd name="connsiteY8" fmla="*/ 669082 h 2310755"/>
                <a:gd name="connsiteX9" fmla="*/ 1168953 w 1421109"/>
                <a:gd name="connsiteY9" fmla="*/ 968062 h 2310755"/>
                <a:gd name="connsiteX10" fmla="*/ 927050 w 1421109"/>
                <a:gd name="connsiteY10" fmla="*/ 614956 h 2310755"/>
                <a:gd name="connsiteX11" fmla="*/ 957315 w 1421109"/>
                <a:gd name="connsiteY11" fmla="*/ 944170 h 2310755"/>
                <a:gd name="connsiteX12" fmla="*/ 711016 w 1421109"/>
                <a:gd name="connsiteY12" fmla="*/ 569620 h 2310755"/>
                <a:gd name="connsiteX13" fmla="*/ 729319 w 1421109"/>
                <a:gd name="connsiteY13" fmla="*/ 957827 h 2310755"/>
                <a:gd name="connsiteX14" fmla="*/ 543268 w 1421109"/>
                <a:gd name="connsiteY14" fmla="*/ 8 h 2310755"/>
                <a:gd name="connsiteX15" fmla="*/ 473286 w 1421109"/>
                <a:gd name="connsiteY15" fmla="*/ 1312127 h 2310755"/>
                <a:gd name="connsiteX16" fmla="*/ 338442 w 1421109"/>
                <a:gd name="connsiteY16" fmla="*/ 1258222 h 2310755"/>
                <a:gd name="connsiteX17" fmla="*/ 719 w 1421109"/>
                <a:gd name="connsiteY17" fmla="*/ 957545 h 2310755"/>
                <a:gd name="connsiteX0" fmla="*/ 719 w 1421109"/>
                <a:gd name="connsiteY0" fmla="*/ 957545 h 2310755"/>
                <a:gd name="connsiteX1" fmla="*/ 140932 w 1421109"/>
                <a:gd name="connsiteY1" fmla="*/ 1353319 h 2310755"/>
                <a:gd name="connsiteX2" fmla="*/ 309182 w 1421109"/>
                <a:gd name="connsiteY2" fmla="*/ 1711764 h 2310755"/>
                <a:gd name="connsiteX3" fmla="*/ 548773 w 1421109"/>
                <a:gd name="connsiteY3" fmla="*/ 1936338 h 2310755"/>
                <a:gd name="connsiteX4" fmla="*/ 582370 w 1421109"/>
                <a:gd name="connsiteY4" fmla="*/ 2297232 h 2310755"/>
                <a:gd name="connsiteX5" fmla="*/ 1253027 w 1421109"/>
                <a:gd name="connsiteY5" fmla="*/ 2310347 h 2310755"/>
                <a:gd name="connsiteX6" fmla="*/ 1262460 w 1421109"/>
                <a:gd name="connsiteY6" fmla="*/ 1987074 h 2310755"/>
                <a:gd name="connsiteX7" fmla="*/ 1421092 w 1421109"/>
                <a:gd name="connsiteY7" fmla="*/ 1126548 h 2310755"/>
                <a:gd name="connsiteX8" fmla="*/ 1152597 w 1421109"/>
                <a:gd name="connsiteY8" fmla="*/ 669082 h 2310755"/>
                <a:gd name="connsiteX9" fmla="*/ 1168953 w 1421109"/>
                <a:gd name="connsiteY9" fmla="*/ 968062 h 2310755"/>
                <a:gd name="connsiteX10" fmla="*/ 927050 w 1421109"/>
                <a:gd name="connsiteY10" fmla="*/ 614956 h 2310755"/>
                <a:gd name="connsiteX11" fmla="*/ 957315 w 1421109"/>
                <a:gd name="connsiteY11" fmla="*/ 944170 h 2310755"/>
                <a:gd name="connsiteX12" fmla="*/ 711016 w 1421109"/>
                <a:gd name="connsiteY12" fmla="*/ 569620 h 2310755"/>
                <a:gd name="connsiteX13" fmla="*/ 729319 w 1421109"/>
                <a:gd name="connsiteY13" fmla="*/ 957827 h 2310755"/>
                <a:gd name="connsiteX14" fmla="*/ 543268 w 1421109"/>
                <a:gd name="connsiteY14" fmla="*/ 8 h 2310755"/>
                <a:gd name="connsiteX15" fmla="*/ 473286 w 1421109"/>
                <a:gd name="connsiteY15" fmla="*/ 1312127 h 2310755"/>
                <a:gd name="connsiteX16" fmla="*/ 338442 w 1421109"/>
                <a:gd name="connsiteY16" fmla="*/ 1258222 h 2310755"/>
                <a:gd name="connsiteX17" fmla="*/ 719 w 1421109"/>
                <a:gd name="connsiteY17" fmla="*/ 957545 h 2310755"/>
                <a:gd name="connsiteX0" fmla="*/ 719 w 1421109"/>
                <a:gd name="connsiteY0" fmla="*/ 957545 h 2310755"/>
                <a:gd name="connsiteX1" fmla="*/ 140932 w 1421109"/>
                <a:gd name="connsiteY1" fmla="*/ 1353319 h 2310755"/>
                <a:gd name="connsiteX2" fmla="*/ 309182 w 1421109"/>
                <a:gd name="connsiteY2" fmla="*/ 1711764 h 2310755"/>
                <a:gd name="connsiteX3" fmla="*/ 548773 w 1421109"/>
                <a:gd name="connsiteY3" fmla="*/ 1936338 h 2310755"/>
                <a:gd name="connsiteX4" fmla="*/ 582370 w 1421109"/>
                <a:gd name="connsiteY4" fmla="*/ 2297232 h 2310755"/>
                <a:gd name="connsiteX5" fmla="*/ 1253027 w 1421109"/>
                <a:gd name="connsiteY5" fmla="*/ 2310347 h 2310755"/>
                <a:gd name="connsiteX6" fmla="*/ 1262460 w 1421109"/>
                <a:gd name="connsiteY6" fmla="*/ 1987074 h 2310755"/>
                <a:gd name="connsiteX7" fmla="*/ 1421092 w 1421109"/>
                <a:gd name="connsiteY7" fmla="*/ 1126548 h 2310755"/>
                <a:gd name="connsiteX8" fmla="*/ 1152597 w 1421109"/>
                <a:gd name="connsiteY8" fmla="*/ 669082 h 2310755"/>
                <a:gd name="connsiteX9" fmla="*/ 1168953 w 1421109"/>
                <a:gd name="connsiteY9" fmla="*/ 968062 h 2310755"/>
                <a:gd name="connsiteX10" fmla="*/ 927050 w 1421109"/>
                <a:gd name="connsiteY10" fmla="*/ 614956 h 2310755"/>
                <a:gd name="connsiteX11" fmla="*/ 957315 w 1421109"/>
                <a:gd name="connsiteY11" fmla="*/ 944170 h 2310755"/>
                <a:gd name="connsiteX12" fmla="*/ 711016 w 1421109"/>
                <a:gd name="connsiteY12" fmla="*/ 569620 h 2310755"/>
                <a:gd name="connsiteX13" fmla="*/ 729319 w 1421109"/>
                <a:gd name="connsiteY13" fmla="*/ 957827 h 2310755"/>
                <a:gd name="connsiteX14" fmla="*/ 543268 w 1421109"/>
                <a:gd name="connsiteY14" fmla="*/ 8 h 2310755"/>
                <a:gd name="connsiteX15" fmla="*/ 473286 w 1421109"/>
                <a:gd name="connsiteY15" fmla="*/ 1312127 h 2310755"/>
                <a:gd name="connsiteX16" fmla="*/ 338442 w 1421109"/>
                <a:gd name="connsiteY16" fmla="*/ 1258222 h 2310755"/>
                <a:gd name="connsiteX17" fmla="*/ 719 w 1421109"/>
                <a:gd name="connsiteY17" fmla="*/ 957545 h 2310755"/>
                <a:gd name="connsiteX0" fmla="*/ 719 w 1421109"/>
                <a:gd name="connsiteY0" fmla="*/ 957545 h 2310347"/>
                <a:gd name="connsiteX1" fmla="*/ 140932 w 1421109"/>
                <a:gd name="connsiteY1" fmla="*/ 1353319 h 2310347"/>
                <a:gd name="connsiteX2" fmla="*/ 309182 w 1421109"/>
                <a:gd name="connsiteY2" fmla="*/ 1711764 h 2310347"/>
                <a:gd name="connsiteX3" fmla="*/ 548773 w 1421109"/>
                <a:gd name="connsiteY3" fmla="*/ 1936338 h 2310347"/>
                <a:gd name="connsiteX4" fmla="*/ 582370 w 1421109"/>
                <a:gd name="connsiteY4" fmla="*/ 2297232 h 2310347"/>
                <a:gd name="connsiteX5" fmla="*/ 1253027 w 1421109"/>
                <a:gd name="connsiteY5" fmla="*/ 2310347 h 2310347"/>
                <a:gd name="connsiteX6" fmla="*/ 1262460 w 1421109"/>
                <a:gd name="connsiteY6" fmla="*/ 1987074 h 2310347"/>
                <a:gd name="connsiteX7" fmla="*/ 1421092 w 1421109"/>
                <a:gd name="connsiteY7" fmla="*/ 1126548 h 2310347"/>
                <a:gd name="connsiteX8" fmla="*/ 1152597 w 1421109"/>
                <a:gd name="connsiteY8" fmla="*/ 669082 h 2310347"/>
                <a:gd name="connsiteX9" fmla="*/ 1168953 w 1421109"/>
                <a:gd name="connsiteY9" fmla="*/ 968062 h 2310347"/>
                <a:gd name="connsiteX10" fmla="*/ 927050 w 1421109"/>
                <a:gd name="connsiteY10" fmla="*/ 614956 h 2310347"/>
                <a:gd name="connsiteX11" fmla="*/ 957315 w 1421109"/>
                <a:gd name="connsiteY11" fmla="*/ 944170 h 2310347"/>
                <a:gd name="connsiteX12" fmla="*/ 711016 w 1421109"/>
                <a:gd name="connsiteY12" fmla="*/ 569620 h 2310347"/>
                <a:gd name="connsiteX13" fmla="*/ 729319 w 1421109"/>
                <a:gd name="connsiteY13" fmla="*/ 957827 h 2310347"/>
                <a:gd name="connsiteX14" fmla="*/ 543268 w 1421109"/>
                <a:gd name="connsiteY14" fmla="*/ 8 h 2310347"/>
                <a:gd name="connsiteX15" fmla="*/ 473286 w 1421109"/>
                <a:gd name="connsiteY15" fmla="*/ 1312127 h 2310347"/>
                <a:gd name="connsiteX16" fmla="*/ 338442 w 1421109"/>
                <a:gd name="connsiteY16" fmla="*/ 1258222 h 2310347"/>
                <a:gd name="connsiteX17" fmla="*/ 719 w 1421109"/>
                <a:gd name="connsiteY17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52597 w 1423213"/>
                <a:gd name="connsiteY9" fmla="*/ 669082 h 2310347"/>
                <a:gd name="connsiteX10" fmla="*/ 1168953 w 1423213"/>
                <a:gd name="connsiteY10" fmla="*/ 968062 h 2310347"/>
                <a:gd name="connsiteX11" fmla="*/ 927050 w 1423213"/>
                <a:gd name="connsiteY11" fmla="*/ 614956 h 2310347"/>
                <a:gd name="connsiteX12" fmla="*/ 957315 w 1423213"/>
                <a:gd name="connsiteY12" fmla="*/ 944170 h 2310347"/>
                <a:gd name="connsiteX13" fmla="*/ 711016 w 1423213"/>
                <a:gd name="connsiteY13" fmla="*/ 569620 h 2310347"/>
                <a:gd name="connsiteX14" fmla="*/ 729319 w 1423213"/>
                <a:gd name="connsiteY14" fmla="*/ 957827 h 2310347"/>
                <a:gd name="connsiteX15" fmla="*/ 543268 w 1423213"/>
                <a:gd name="connsiteY15" fmla="*/ 8 h 2310347"/>
                <a:gd name="connsiteX16" fmla="*/ 473286 w 1423213"/>
                <a:gd name="connsiteY16" fmla="*/ 1312127 h 2310347"/>
                <a:gd name="connsiteX17" fmla="*/ 338442 w 1423213"/>
                <a:gd name="connsiteY17" fmla="*/ 1258222 h 2310347"/>
                <a:gd name="connsiteX18" fmla="*/ 719 w 1423213"/>
                <a:gd name="connsiteY18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52597 w 1423213"/>
                <a:gd name="connsiteY9" fmla="*/ 669082 h 2310347"/>
                <a:gd name="connsiteX10" fmla="*/ 1168953 w 1423213"/>
                <a:gd name="connsiteY10" fmla="*/ 968062 h 2310347"/>
                <a:gd name="connsiteX11" fmla="*/ 927050 w 1423213"/>
                <a:gd name="connsiteY11" fmla="*/ 614956 h 2310347"/>
                <a:gd name="connsiteX12" fmla="*/ 957315 w 1423213"/>
                <a:gd name="connsiteY12" fmla="*/ 944170 h 2310347"/>
                <a:gd name="connsiteX13" fmla="*/ 711016 w 1423213"/>
                <a:gd name="connsiteY13" fmla="*/ 569620 h 2310347"/>
                <a:gd name="connsiteX14" fmla="*/ 729319 w 1423213"/>
                <a:gd name="connsiteY14" fmla="*/ 957827 h 2310347"/>
                <a:gd name="connsiteX15" fmla="*/ 543268 w 1423213"/>
                <a:gd name="connsiteY15" fmla="*/ 8 h 2310347"/>
                <a:gd name="connsiteX16" fmla="*/ 473286 w 1423213"/>
                <a:gd name="connsiteY16" fmla="*/ 1312127 h 2310347"/>
                <a:gd name="connsiteX17" fmla="*/ 338442 w 1423213"/>
                <a:gd name="connsiteY17" fmla="*/ 1258222 h 2310347"/>
                <a:gd name="connsiteX18" fmla="*/ 719 w 1423213"/>
                <a:gd name="connsiteY18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76719 w 1423213"/>
                <a:gd name="connsiteY9" fmla="*/ 664258 h 2310347"/>
                <a:gd name="connsiteX10" fmla="*/ 1168953 w 1423213"/>
                <a:gd name="connsiteY10" fmla="*/ 968062 h 2310347"/>
                <a:gd name="connsiteX11" fmla="*/ 927050 w 1423213"/>
                <a:gd name="connsiteY11" fmla="*/ 614956 h 2310347"/>
                <a:gd name="connsiteX12" fmla="*/ 957315 w 1423213"/>
                <a:gd name="connsiteY12" fmla="*/ 944170 h 2310347"/>
                <a:gd name="connsiteX13" fmla="*/ 711016 w 1423213"/>
                <a:gd name="connsiteY13" fmla="*/ 569620 h 2310347"/>
                <a:gd name="connsiteX14" fmla="*/ 729319 w 1423213"/>
                <a:gd name="connsiteY14" fmla="*/ 957827 h 2310347"/>
                <a:gd name="connsiteX15" fmla="*/ 543268 w 1423213"/>
                <a:gd name="connsiteY15" fmla="*/ 8 h 2310347"/>
                <a:gd name="connsiteX16" fmla="*/ 473286 w 1423213"/>
                <a:gd name="connsiteY16" fmla="*/ 1312127 h 2310347"/>
                <a:gd name="connsiteX17" fmla="*/ 338442 w 1423213"/>
                <a:gd name="connsiteY17" fmla="*/ 1258222 h 2310347"/>
                <a:gd name="connsiteX18" fmla="*/ 719 w 1423213"/>
                <a:gd name="connsiteY18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76719 w 1423213"/>
                <a:gd name="connsiteY9" fmla="*/ 664258 h 2310347"/>
                <a:gd name="connsiteX10" fmla="*/ 1168953 w 1423213"/>
                <a:gd name="connsiteY10" fmla="*/ 968062 h 2310347"/>
                <a:gd name="connsiteX11" fmla="*/ 1156855 w 1423213"/>
                <a:gd name="connsiteY11" fmla="*/ 657333 h 2310347"/>
                <a:gd name="connsiteX12" fmla="*/ 927050 w 1423213"/>
                <a:gd name="connsiteY12" fmla="*/ 614956 h 2310347"/>
                <a:gd name="connsiteX13" fmla="*/ 957315 w 1423213"/>
                <a:gd name="connsiteY13" fmla="*/ 944170 h 2310347"/>
                <a:gd name="connsiteX14" fmla="*/ 711016 w 1423213"/>
                <a:gd name="connsiteY14" fmla="*/ 569620 h 2310347"/>
                <a:gd name="connsiteX15" fmla="*/ 729319 w 1423213"/>
                <a:gd name="connsiteY15" fmla="*/ 957827 h 2310347"/>
                <a:gd name="connsiteX16" fmla="*/ 543268 w 1423213"/>
                <a:gd name="connsiteY16" fmla="*/ 8 h 2310347"/>
                <a:gd name="connsiteX17" fmla="*/ 473286 w 1423213"/>
                <a:gd name="connsiteY17" fmla="*/ 1312127 h 2310347"/>
                <a:gd name="connsiteX18" fmla="*/ 338442 w 1423213"/>
                <a:gd name="connsiteY18" fmla="*/ 1258222 h 2310347"/>
                <a:gd name="connsiteX19" fmla="*/ 719 w 1423213"/>
                <a:gd name="connsiteY19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76719 w 1423213"/>
                <a:gd name="connsiteY9" fmla="*/ 664258 h 2310347"/>
                <a:gd name="connsiteX10" fmla="*/ 1168953 w 1423213"/>
                <a:gd name="connsiteY10" fmla="*/ 968062 h 2310347"/>
                <a:gd name="connsiteX11" fmla="*/ 1156855 w 1423213"/>
                <a:gd name="connsiteY11" fmla="*/ 657333 h 2310347"/>
                <a:gd name="connsiteX12" fmla="*/ 927050 w 1423213"/>
                <a:gd name="connsiteY12" fmla="*/ 614956 h 2310347"/>
                <a:gd name="connsiteX13" fmla="*/ 957315 w 1423213"/>
                <a:gd name="connsiteY13" fmla="*/ 944170 h 2310347"/>
                <a:gd name="connsiteX14" fmla="*/ 711016 w 1423213"/>
                <a:gd name="connsiteY14" fmla="*/ 569620 h 2310347"/>
                <a:gd name="connsiteX15" fmla="*/ 729319 w 1423213"/>
                <a:gd name="connsiteY15" fmla="*/ 957827 h 2310347"/>
                <a:gd name="connsiteX16" fmla="*/ 543268 w 1423213"/>
                <a:gd name="connsiteY16" fmla="*/ 8 h 2310347"/>
                <a:gd name="connsiteX17" fmla="*/ 473286 w 1423213"/>
                <a:gd name="connsiteY17" fmla="*/ 1312127 h 2310347"/>
                <a:gd name="connsiteX18" fmla="*/ 338442 w 1423213"/>
                <a:gd name="connsiteY18" fmla="*/ 1258222 h 2310347"/>
                <a:gd name="connsiteX19" fmla="*/ 719 w 1423213"/>
                <a:gd name="connsiteY19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76719 w 1423213"/>
                <a:gd name="connsiteY9" fmla="*/ 664258 h 2310347"/>
                <a:gd name="connsiteX10" fmla="*/ 1168953 w 1423213"/>
                <a:gd name="connsiteY10" fmla="*/ 968062 h 2310347"/>
                <a:gd name="connsiteX11" fmla="*/ 1156855 w 1423213"/>
                <a:gd name="connsiteY11" fmla="*/ 657333 h 2310347"/>
                <a:gd name="connsiteX12" fmla="*/ 927050 w 1423213"/>
                <a:gd name="connsiteY12" fmla="*/ 614956 h 2310347"/>
                <a:gd name="connsiteX13" fmla="*/ 957315 w 1423213"/>
                <a:gd name="connsiteY13" fmla="*/ 944170 h 2310347"/>
                <a:gd name="connsiteX14" fmla="*/ 711016 w 1423213"/>
                <a:gd name="connsiteY14" fmla="*/ 569620 h 2310347"/>
                <a:gd name="connsiteX15" fmla="*/ 729319 w 1423213"/>
                <a:gd name="connsiteY15" fmla="*/ 957827 h 2310347"/>
                <a:gd name="connsiteX16" fmla="*/ 543268 w 1423213"/>
                <a:gd name="connsiteY16" fmla="*/ 8 h 2310347"/>
                <a:gd name="connsiteX17" fmla="*/ 473286 w 1423213"/>
                <a:gd name="connsiteY17" fmla="*/ 1312127 h 2310347"/>
                <a:gd name="connsiteX18" fmla="*/ 338442 w 1423213"/>
                <a:gd name="connsiteY18" fmla="*/ 1258222 h 2310347"/>
                <a:gd name="connsiteX19" fmla="*/ 719 w 1423213"/>
                <a:gd name="connsiteY19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76719 w 1423213"/>
                <a:gd name="connsiteY9" fmla="*/ 664258 h 2310347"/>
                <a:gd name="connsiteX10" fmla="*/ 1168953 w 1423213"/>
                <a:gd name="connsiteY10" fmla="*/ 968062 h 2310347"/>
                <a:gd name="connsiteX11" fmla="*/ 1156855 w 1423213"/>
                <a:gd name="connsiteY11" fmla="*/ 657333 h 2310347"/>
                <a:gd name="connsiteX12" fmla="*/ 927050 w 1423213"/>
                <a:gd name="connsiteY12" fmla="*/ 614956 h 2310347"/>
                <a:gd name="connsiteX13" fmla="*/ 957315 w 1423213"/>
                <a:gd name="connsiteY13" fmla="*/ 944170 h 2310347"/>
                <a:gd name="connsiteX14" fmla="*/ 711016 w 1423213"/>
                <a:gd name="connsiteY14" fmla="*/ 569620 h 2310347"/>
                <a:gd name="connsiteX15" fmla="*/ 729319 w 1423213"/>
                <a:gd name="connsiteY15" fmla="*/ 957827 h 2310347"/>
                <a:gd name="connsiteX16" fmla="*/ 543268 w 1423213"/>
                <a:gd name="connsiteY16" fmla="*/ 8 h 2310347"/>
                <a:gd name="connsiteX17" fmla="*/ 473286 w 1423213"/>
                <a:gd name="connsiteY17" fmla="*/ 1312127 h 2310347"/>
                <a:gd name="connsiteX18" fmla="*/ 338442 w 1423213"/>
                <a:gd name="connsiteY18" fmla="*/ 1258222 h 2310347"/>
                <a:gd name="connsiteX19" fmla="*/ 719 w 1423213"/>
                <a:gd name="connsiteY19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86368 w 1423213"/>
                <a:gd name="connsiteY9" fmla="*/ 644961 h 2310347"/>
                <a:gd name="connsiteX10" fmla="*/ 1168953 w 1423213"/>
                <a:gd name="connsiteY10" fmla="*/ 968062 h 2310347"/>
                <a:gd name="connsiteX11" fmla="*/ 1156855 w 1423213"/>
                <a:gd name="connsiteY11" fmla="*/ 657333 h 2310347"/>
                <a:gd name="connsiteX12" fmla="*/ 927050 w 1423213"/>
                <a:gd name="connsiteY12" fmla="*/ 614956 h 2310347"/>
                <a:gd name="connsiteX13" fmla="*/ 957315 w 1423213"/>
                <a:gd name="connsiteY13" fmla="*/ 944170 h 2310347"/>
                <a:gd name="connsiteX14" fmla="*/ 711016 w 1423213"/>
                <a:gd name="connsiteY14" fmla="*/ 569620 h 2310347"/>
                <a:gd name="connsiteX15" fmla="*/ 729319 w 1423213"/>
                <a:gd name="connsiteY15" fmla="*/ 957827 h 2310347"/>
                <a:gd name="connsiteX16" fmla="*/ 543268 w 1423213"/>
                <a:gd name="connsiteY16" fmla="*/ 8 h 2310347"/>
                <a:gd name="connsiteX17" fmla="*/ 473286 w 1423213"/>
                <a:gd name="connsiteY17" fmla="*/ 1312127 h 2310347"/>
                <a:gd name="connsiteX18" fmla="*/ 338442 w 1423213"/>
                <a:gd name="connsiteY18" fmla="*/ 1258222 h 2310347"/>
                <a:gd name="connsiteX19" fmla="*/ 719 w 1423213"/>
                <a:gd name="connsiteY19" fmla="*/ 957545 h 2310347"/>
                <a:gd name="connsiteX0" fmla="*/ 719 w 1423213"/>
                <a:gd name="connsiteY0" fmla="*/ 957545 h 2310347"/>
                <a:gd name="connsiteX1" fmla="*/ 140932 w 1423213"/>
                <a:gd name="connsiteY1" fmla="*/ 1353319 h 2310347"/>
                <a:gd name="connsiteX2" fmla="*/ 309182 w 1423213"/>
                <a:gd name="connsiteY2" fmla="*/ 1711764 h 2310347"/>
                <a:gd name="connsiteX3" fmla="*/ 548773 w 1423213"/>
                <a:gd name="connsiteY3" fmla="*/ 1936338 h 2310347"/>
                <a:gd name="connsiteX4" fmla="*/ 582370 w 1423213"/>
                <a:gd name="connsiteY4" fmla="*/ 2297232 h 2310347"/>
                <a:gd name="connsiteX5" fmla="*/ 1253027 w 1423213"/>
                <a:gd name="connsiteY5" fmla="*/ 2310347 h 2310347"/>
                <a:gd name="connsiteX6" fmla="*/ 1262460 w 1423213"/>
                <a:gd name="connsiteY6" fmla="*/ 1987074 h 2310347"/>
                <a:gd name="connsiteX7" fmla="*/ 1421092 w 1423213"/>
                <a:gd name="connsiteY7" fmla="*/ 1126548 h 2310347"/>
                <a:gd name="connsiteX8" fmla="*/ 1378773 w 1423213"/>
                <a:gd name="connsiteY8" fmla="*/ 734522 h 2310347"/>
                <a:gd name="connsiteX9" fmla="*/ 1186368 w 1423213"/>
                <a:gd name="connsiteY9" fmla="*/ 644961 h 2310347"/>
                <a:gd name="connsiteX10" fmla="*/ 1168953 w 1423213"/>
                <a:gd name="connsiteY10" fmla="*/ 968062 h 2310347"/>
                <a:gd name="connsiteX11" fmla="*/ 1156855 w 1423213"/>
                <a:gd name="connsiteY11" fmla="*/ 657333 h 2310347"/>
                <a:gd name="connsiteX12" fmla="*/ 927050 w 1423213"/>
                <a:gd name="connsiteY12" fmla="*/ 614956 h 2310347"/>
                <a:gd name="connsiteX13" fmla="*/ 957315 w 1423213"/>
                <a:gd name="connsiteY13" fmla="*/ 944170 h 2310347"/>
                <a:gd name="connsiteX14" fmla="*/ 711016 w 1423213"/>
                <a:gd name="connsiteY14" fmla="*/ 569620 h 2310347"/>
                <a:gd name="connsiteX15" fmla="*/ 729319 w 1423213"/>
                <a:gd name="connsiteY15" fmla="*/ 957827 h 2310347"/>
                <a:gd name="connsiteX16" fmla="*/ 543268 w 1423213"/>
                <a:gd name="connsiteY16" fmla="*/ 8 h 2310347"/>
                <a:gd name="connsiteX17" fmla="*/ 473286 w 1423213"/>
                <a:gd name="connsiteY17" fmla="*/ 1312127 h 2310347"/>
                <a:gd name="connsiteX18" fmla="*/ 338442 w 1423213"/>
                <a:gd name="connsiteY18" fmla="*/ 1258222 h 2310347"/>
                <a:gd name="connsiteX19" fmla="*/ 719 w 1423213"/>
                <a:gd name="connsiteY19" fmla="*/ 957545 h 2310347"/>
                <a:gd name="connsiteX0" fmla="*/ 719 w 1426650"/>
                <a:gd name="connsiteY0" fmla="*/ 957545 h 2310347"/>
                <a:gd name="connsiteX1" fmla="*/ 140932 w 1426650"/>
                <a:gd name="connsiteY1" fmla="*/ 1353319 h 2310347"/>
                <a:gd name="connsiteX2" fmla="*/ 309182 w 1426650"/>
                <a:gd name="connsiteY2" fmla="*/ 1711764 h 2310347"/>
                <a:gd name="connsiteX3" fmla="*/ 548773 w 1426650"/>
                <a:gd name="connsiteY3" fmla="*/ 1936338 h 2310347"/>
                <a:gd name="connsiteX4" fmla="*/ 582370 w 1426650"/>
                <a:gd name="connsiteY4" fmla="*/ 2297232 h 2310347"/>
                <a:gd name="connsiteX5" fmla="*/ 1253027 w 1426650"/>
                <a:gd name="connsiteY5" fmla="*/ 2310347 h 2310347"/>
                <a:gd name="connsiteX6" fmla="*/ 1262460 w 1426650"/>
                <a:gd name="connsiteY6" fmla="*/ 1987074 h 2310347"/>
                <a:gd name="connsiteX7" fmla="*/ 1421092 w 1426650"/>
                <a:gd name="connsiteY7" fmla="*/ 1126548 h 2310347"/>
                <a:gd name="connsiteX8" fmla="*/ 1393246 w 1426650"/>
                <a:gd name="connsiteY8" fmla="*/ 734522 h 2310347"/>
                <a:gd name="connsiteX9" fmla="*/ 1186368 w 1426650"/>
                <a:gd name="connsiteY9" fmla="*/ 644961 h 2310347"/>
                <a:gd name="connsiteX10" fmla="*/ 1168953 w 1426650"/>
                <a:gd name="connsiteY10" fmla="*/ 968062 h 2310347"/>
                <a:gd name="connsiteX11" fmla="*/ 1156855 w 1426650"/>
                <a:gd name="connsiteY11" fmla="*/ 657333 h 2310347"/>
                <a:gd name="connsiteX12" fmla="*/ 927050 w 1426650"/>
                <a:gd name="connsiteY12" fmla="*/ 614956 h 2310347"/>
                <a:gd name="connsiteX13" fmla="*/ 957315 w 1426650"/>
                <a:gd name="connsiteY13" fmla="*/ 944170 h 2310347"/>
                <a:gd name="connsiteX14" fmla="*/ 711016 w 1426650"/>
                <a:gd name="connsiteY14" fmla="*/ 569620 h 2310347"/>
                <a:gd name="connsiteX15" fmla="*/ 729319 w 1426650"/>
                <a:gd name="connsiteY15" fmla="*/ 957827 h 2310347"/>
                <a:gd name="connsiteX16" fmla="*/ 543268 w 1426650"/>
                <a:gd name="connsiteY16" fmla="*/ 8 h 2310347"/>
                <a:gd name="connsiteX17" fmla="*/ 473286 w 1426650"/>
                <a:gd name="connsiteY17" fmla="*/ 1312127 h 2310347"/>
                <a:gd name="connsiteX18" fmla="*/ 338442 w 1426650"/>
                <a:gd name="connsiteY18" fmla="*/ 1258222 h 2310347"/>
                <a:gd name="connsiteX19" fmla="*/ 719 w 1426650"/>
                <a:gd name="connsiteY19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86368 w 1422362"/>
                <a:gd name="connsiteY9" fmla="*/ 644961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711016 w 1422362"/>
                <a:gd name="connsiteY14" fmla="*/ 569620 h 2310347"/>
                <a:gd name="connsiteX15" fmla="*/ 729319 w 1422362"/>
                <a:gd name="connsiteY15" fmla="*/ 957827 h 2310347"/>
                <a:gd name="connsiteX16" fmla="*/ 543268 w 1422362"/>
                <a:gd name="connsiteY16" fmla="*/ 8 h 2310347"/>
                <a:gd name="connsiteX17" fmla="*/ 473286 w 1422362"/>
                <a:gd name="connsiteY17" fmla="*/ 1312127 h 2310347"/>
                <a:gd name="connsiteX18" fmla="*/ 338442 w 1422362"/>
                <a:gd name="connsiteY18" fmla="*/ 1258222 h 2310347"/>
                <a:gd name="connsiteX19" fmla="*/ 719 w 1422362"/>
                <a:gd name="connsiteY19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86368 w 1422362"/>
                <a:gd name="connsiteY9" fmla="*/ 644961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86368 w 1422362"/>
                <a:gd name="connsiteY9" fmla="*/ 644961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86368 w 1422362"/>
                <a:gd name="connsiteY9" fmla="*/ 644961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86368 w 1422362"/>
                <a:gd name="connsiteY9" fmla="*/ 644961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86368 w 1422362"/>
                <a:gd name="connsiteY9" fmla="*/ 644961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76719 w 1422362"/>
                <a:gd name="connsiteY9" fmla="*/ 669083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76719 w 1422362"/>
                <a:gd name="connsiteY9" fmla="*/ 669083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957545 h 2310347"/>
                <a:gd name="connsiteX1" fmla="*/ 140932 w 1422362"/>
                <a:gd name="connsiteY1" fmla="*/ 1353319 h 2310347"/>
                <a:gd name="connsiteX2" fmla="*/ 309182 w 1422362"/>
                <a:gd name="connsiteY2" fmla="*/ 1711764 h 2310347"/>
                <a:gd name="connsiteX3" fmla="*/ 548773 w 1422362"/>
                <a:gd name="connsiteY3" fmla="*/ 1936338 h 2310347"/>
                <a:gd name="connsiteX4" fmla="*/ 582370 w 1422362"/>
                <a:gd name="connsiteY4" fmla="*/ 2297232 h 2310347"/>
                <a:gd name="connsiteX5" fmla="*/ 1253027 w 1422362"/>
                <a:gd name="connsiteY5" fmla="*/ 2310347 h 2310347"/>
                <a:gd name="connsiteX6" fmla="*/ 1262460 w 1422362"/>
                <a:gd name="connsiteY6" fmla="*/ 1987074 h 2310347"/>
                <a:gd name="connsiteX7" fmla="*/ 1421092 w 1422362"/>
                <a:gd name="connsiteY7" fmla="*/ 1126548 h 2310347"/>
                <a:gd name="connsiteX8" fmla="*/ 1369124 w 1422362"/>
                <a:gd name="connsiteY8" fmla="*/ 700752 h 2310347"/>
                <a:gd name="connsiteX9" fmla="*/ 1176719 w 1422362"/>
                <a:gd name="connsiteY9" fmla="*/ 669083 h 2310347"/>
                <a:gd name="connsiteX10" fmla="*/ 1168953 w 1422362"/>
                <a:gd name="connsiteY10" fmla="*/ 968062 h 2310347"/>
                <a:gd name="connsiteX11" fmla="*/ 1156855 w 1422362"/>
                <a:gd name="connsiteY11" fmla="*/ 657333 h 2310347"/>
                <a:gd name="connsiteX12" fmla="*/ 927050 w 1422362"/>
                <a:gd name="connsiteY12" fmla="*/ 614956 h 2310347"/>
                <a:gd name="connsiteX13" fmla="*/ 957315 w 1422362"/>
                <a:gd name="connsiteY13" fmla="*/ 944170 h 2310347"/>
                <a:gd name="connsiteX14" fmla="*/ 905990 w 1422362"/>
                <a:gd name="connsiteY14" fmla="*/ 613914 h 2310347"/>
                <a:gd name="connsiteX15" fmla="*/ 711016 w 1422362"/>
                <a:gd name="connsiteY15" fmla="*/ 569620 h 2310347"/>
                <a:gd name="connsiteX16" fmla="*/ 729319 w 1422362"/>
                <a:gd name="connsiteY16" fmla="*/ 957827 h 2310347"/>
                <a:gd name="connsiteX17" fmla="*/ 543268 w 1422362"/>
                <a:gd name="connsiteY17" fmla="*/ 8 h 2310347"/>
                <a:gd name="connsiteX18" fmla="*/ 473286 w 1422362"/>
                <a:gd name="connsiteY18" fmla="*/ 1312127 h 2310347"/>
                <a:gd name="connsiteX19" fmla="*/ 338442 w 1422362"/>
                <a:gd name="connsiteY19" fmla="*/ 1258222 h 2310347"/>
                <a:gd name="connsiteX20" fmla="*/ 719 w 1422362"/>
                <a:gd name="connsiteY20" fmla="*/ 957545 h 2310347"/>
                <a:gd name="connsiteX0" fmla="*/ 719 w 1422362"/>
                <a:gd name="connsiteY0" fmla="*/ 1028697 h 2381499"/>
                <a:gd name="connsiteX1" fmla="*/ 140932 w 1422362"/>
                <a:gd name="connsiteY1" fmla="*/ 1424471 h 2381499"/>
                <a:gd name="connsiteX2" fmla="*/ 309182 w 1422362"/>
                <a:gd name="connsiteY2" fmla="*/ 1782916 h 2381499"/>
                <a:gd name="connsiteX3" fmla="*/ 548773 w 1422362"/>
                <a:gd name="connsiteY3" fmla="*/ 2007490 h 2381499"/>
                <a:gd name="connsiteX4" fmla="*/ 582370 w 1422362"/>
                <a:gd name="connsiteY4" fmla="*/ 2368384 h 2381499"/>
                <a:gd name="connsiteX5" fmla="*/ 1253027 w 1422362"/>
                <a:gd name="connsiteY5" fmla="*/ 2381499 h 2381499"/>
                <a:gd name="connsiteX6" fmla="*/ 1262460 w 1422362"/>
                <a:gd name="connsiteY6" fmla="*/ 2058226 h 2381499"/>
                <a:gd name="connsiteX7" fmla="*/ 1421092 w 1422362"/>
                <a:gd name="connsiteY7" fmla="*/ 1197700 h 2381499"/>
                <a:gd name="connsiteX8" fmla="*/ 1369124 w 1422362"/>
                <a:gd name="connsiteY8" fmla="*/ 771904 h 2381499"/>
                <a:gd name="connsiteX9" fmla="*/ 1176719 w 1422362"/>
                <a:gd name="connsiteY9" fmla="*/ 740235 h 2381499"/>
                <a:gd name="connsiteX10" fmla="*/ 1168953 w 1422362"/>
                <a:gd name="connsiteY10" fmla="*/ 1039214 h 2381499"/>
                <a:gd name="connsiteX11" fmla="*/ 1156855 w 1422362"/>
                <a:gd name="connsiteY11" fmla="*/ 728485 h 2381499"/>
                <a:gd name="connsiteX12" fmla="*/ 927050 w 1422362"/>
                <a:gd name="connsiteY12" fmla="*/ 686108 h 2381499"/>
                <a:gd name="connsiteX13" fmla="*/ 957315 w 1422362"/>
                <a:gd name="connsiteY13" fmla="*/ 1015322 h 2381499"/>
                <a:gd name="connsiteX14" fmla="*/ 905990 w 1422362"/>
                <a:gd name="connsiteY14" fmla="*/ 685066 h 2381499"/>
                <a:gd name="connsiteX15" fmla="*/ 711016 w 1422362"/>
                <a:gd name="connsiteY15" fmla="*/ 640772 h 2381499"/>
                <a:gd name="connsiteX16" fmla="*/ 729319 w 1422362"/>
                <a:gd name="connsiteY16" fmla="*/ 1028979 h 2381499"/>
                <a:gd name="connsiteX17" fmla="*/ 543268 w 1422362"/>
                <a:gd name="connsiteY17" fmla="*/ 71160 h 2381499"/>
                <a:gd name="connsiteX18" fmla="*/ 471802 w 1422362"/>
                <a:gd name="connsiteY18" fmla="*/ 217109 h 2381499"/>
                <a:gd name="connsiteX19" fmla="*/ 473286 w 1422362"/>
                <a:gd name="connsiteY19" fmla="*/ 1383279 h 2381499"/>
                <a:gd name="connsiteX20" fmla="*/ 338442 w 1422362"/>
                <a:gd name="connsiteY20" fmla="*/ 1329374 h 2381499"/>
                <a:gd name="connsiteX21" fmla="*/ 719 w 1422362"/>
                <a:gd name="connsiteY21" fmla="*/ 1028697 h 2381499"/>
                <a:gd name="connsiteX0" fmla="*/ 719 w 1422362"/>
                <a:gd name="connsiteY0" fmla="*/ 1028697 h 2381499"/>
                <a:gd name="connsiteX1" fmla="*/ 140932 w 1422362"/>
                <a:gd name="connsiteY1" fmla="*/ 1424471 h 2381499"/>
                <a:gd name="connsiteX2" fmla="*/ 309182 w 1422362"/>
                <a:gd name="connsiteY2" fmla="*/ 1782916 h 2381499"/>
                <a:gd name="connsiteX3" fmla="*/ 548773 w 1422362"/>
                <a:gd name="connsiteY3" fmla="*/ 2007490 h 2381499"/>
                <a:gd name="connsiteX4" fmla="*/ 582370 w 1422362"/>
                <a:gd name="connsiteY4" fmla="*/ 2368384 h 2381499"/>
                <a:gd name="connsiteX5" fmla="*/ 1253027 w 1422362"/>
                <a:gd name="connsiteY5" fmla="*/ 2381499 h 2381499"/>
                <a:gd name="connsiteX6" fmla="*/ 1262460 w 1422362"/>
                <a:gd name="connsiteY6" fmla="*/ 2058226 h 2381499"/>
                <a:gd name="connsiteX7" fmla="*/ 1421092 w 1422362"/>
                <a:gd name="connsiteY7" fmla="*/ 1197700 h 2381499"/>
                <a:gd name="connsiteX8" fmla="*/ 1369124 w 1422362"/>
                <a:gd name="connsiteY8" fmla="*/ 771904 h 2381499"/>
                <a:gd name="connsiteX9" fmla="*/ 1176719 w 1422362"/>
                <a:gd name="connsiteY9" fmla="*/ 740235 h 2381499"/>
                <a:gd name="connsiteX10" fmla="*/ 1168953 w 1422362"/>
                <a:gd name="connsiteY10" fmla="*/ 1039214 h 2381499"/>
                <a:gd name="connsiteX11" fmla="*/ 1156855 w 1422362"/>
                <a:gd name="connsiteY11" fmla="*/ 728485 h 2381499"/>
                <a:gd name="connsiteX12" fmla="*/ 927050 w 1422362"/>
                <a:gd name="connsiteY12" fmla="*/ 686108 h 2381499"/>
                <a:gd name="connsiteX13" fmla="*/ 957315 w 1422362"/>
                <a:gd name="connsiteY13" fmla="*/ 1015322 h 2381499"/>
                <a:gd name="connsiteX14" fmla="*/ 905990 w 1422362"/>
                <a:gd name="connsiteY14" fmla="*/ 685066 h 2381499"/>
                <a:gd name="connsiteX15" fmla="*/ 711016 w 1422362"/>
                <a:gd name="connsiteY15" fmla="*/ 640772 h 2381499"/>
                <a:gd name="connsiteX16" fmla="*/ 729319 w 1422362"/>
                <a:gd name="connsiteY16" fmla="*/ 1028979 h 2381499"/>
                <a:gd name="connsiteX17" fmla="*/ 543268 w 1422362"/>
                <a:gd name="connsiteY17" fmla="*/ 71160 h 2381499"/>
                <a:gd name="connsiteX18" fmla="*/ 471802 w 1422362"/>
                <a:gd name="connsiteY18" fmla="*/ 217109 h 2381499"/>
                <a:gd name="connsiteX19" fmla="*/ 473286 w 1422362"/>
                <a:gd name="connsiteY19" fmla="*/ 1383279 h 2381499"/>
                <a:gd name="connsiteX20" fmla="*/ 338442 w 1422362"/>
                <a:gd name="connsiteY20" fmla="*/ 1329374 h 2381499"/>
                <a:gd name="connsiteX21" fmla="*/ 719 w 1422362"/>
                <a:gd name="connsiteY21" fmla="*/ 1028697 h 2381499"/>
                <a:gd name="connsiteX0" fmla="*/ 719 w 1422362"/>
                <a:gd name="connsiteY0" fmla="*/ 1025260 h 2378062"/>
                <a:gd name="connsiteX1" fmla="*/ 140932 w 1422362"/>
                <a:gd name="connsiteY1" fmla="*/ 1421034 h 2378062"/>
                <a:gd name="connsiteX2" fmla="*/ 309182 w 1422362"/>
                <a:gd name="connsiteY2" fmla="*/ 1779479 h 2378062"/>
                <a:gd name="connsiteX3" fmla="*/ 548773 w 1422362"/>
                <a:gd name="connsiteY3" fmla="*/ 2004053 h 2378062"/>
                <a:gd name="connsiteX4" fmla="*/ 582370 w 1422362"/>
                <a:gd name="connsiteY4" fmla="*/ 2364947 h 2378062"/>
                <a:gd name="connsiteX5" fmla="*/ 1253027 w 1422362"/>
                <a:gd name="connsiteY5" fmla="*/ 2378062 h 2378062"/>
                <a:gd name="connsiteX6" fmla="*/ 1262460 w 1422362"/>
                <a:gd name="connsiteY6" fmla="*/ 2054789 h 2378062"/>
                <a:gd name="connsiteX7" fmla="*/ 1421092 w 1422362"/>
                <a:gd name="connsiteY7" fmla="*/ 1194263 h 2378062"/>
                <a:gd name="connsiteX8" fmla="*/ 1369124 w 1422362"/>
                <a:gd name="connsiteY8" fmla="*/ 768467 h 2378062"/>
                <a:gd name="connsiteX9" fmla="*/ 1176719 w 1422362"/>
                <a:gd name="connsiteY9" fmla="*/ 736798 h 2378062"/>
                <a:gd name="connsiteX10" fmla="*/ 1168953 w 1422362"/>
                <a:gd name="connsiteY10" fmla="*/ 1035777 h 2378062"/>
                <a:gd name="connsiteX11" fmla="*/ 1156855 w 1422362"/>
                <a:gd name="connsiteY11" fmla="*/ 725048 h 2378062"/>
                <a:gd name="connsiteX12" fmla="*/ 927050 w 1422362"/>
                <a:gd name="connsiteY12" fmla="*/ 682671 h 2378062"/>
                <a:gd name="connsiteX13" fmla="*/ 957315 w 1422362"/>
                <a:gd name="connsiteY13" fmla="*/ 1011885 h 2378062"/>
                <a:gd name="connsiteX14" fmla="*/ 905990 w 1422362"/>
                <a:gd name="connsiteY14" fmla="*/ 681629 h 2378062"/>
                <a:gd name="connsiteX15" fmla="*/ 711016 w 1422362"/>
                <a:gd name="connsiteY15" fmla="*/ 637335 h 2378062"/>
                <a:gd name="connsiteX16" fmla="*/ 729319 w 1422362"/>
                <a:gd name="connsiteY16" fmla="*/ 1025542 h 2378062"/>
                <a:gd name="connsiteX17" fmla="*/ 543268 w 1422362"/>
                <a:gd name="connsiteY17" fmla="*/ 67723 h 2378062"/>
                <a:gd name="connsiteX18" fmla="*/ 471802 w 1422362"/>
                <a:gd name="connsiteY18" fmla="*/ 213672 h 2378062"/>
                <a:gd name="connsiteX19" fmla="*/ 473286 w 1422362"/>
                <a:gd name="connsiteY19" fmla="*/ 1379842 h 2378062"/>
                <a:gd name="connsiteX20" fmla="*/ 338442 w 1422362"/>
                <a:gd name="connsiteY20" fmla="*/ 1325937 h 2378062"/>
                <a:gd name="connsiteX21" fmla="*/ 719 w 1422362"/>
                <a:gd name="connsiteY21" fmla="*/ 1025260 h 2378062"/>
                <a:gd name="connsiteX0" fmla="*/ 719 w 1422362"/>
                <a:gd name="connsiteY0" fmla="*/ 1011512 h 2364314"/>
                <a:gd name="connsiteX1" fmla="*/ 140932 w 1422362"/>
                <a:gd name="connsiteY1" fmla="*/ 1407286 h 2364314"/>
                <a:gd name="connsiteX2" fmla="*/ 309182 w 1422362"/>
                <a:gd name="connsiteY2" fmla="*/ 1765731 h 2364314"/>
                <a:gd name="connsiteX3" fmla="*/ 548773 w 1422362"/>
                <a:gd name="connsiteY3" fmla="*/ 1990305 h 2364314"/>
                <a:gd name="connsiteX4" fmla="*/ 582370 w 1422362"/>
                <a:gd name="connsiteY4" fmla="*/ 2351199 h 2364314"/>
                <a:gd name="connsiteX5" fmla="*/ 1253027 w 1422362"/>
                <a:gd name="connsiteY5" fmla="*/ 2364314 h 2364314"/>
                <a:gd name="connsiteX6" fmla="*/ 1262460 w 1422362"/>
                <a:gd name="connsiteY6" fmla="*/ 2041041 h 2364314"/>
                <a:gd name="connsiteX7" fmla="*/ 1421092 w 1422362"/>
                <a:gd name="connsiteY7" fmla="*/ 1180515 h 2364314"/>
                <a:gd name="connsiteX8" fmla="*/ 1369124 w 1422362"/>
                <a:gd name="connsiteY8" fmla="*/ 754719 h 2364314"/>
                <a:gd name="connsiteX9" fmla="*/ 1176719 w 1422362"/>
                <a:gd name="connsiteY9" fmla="*/ 723050 h 2364314"/>
                <a:gd name="connsiteX10" fmla="*/ 1168953 w 1422362"/>
                <a:gd name="connsiteY10" fmla="*/ 1022029 h 2364314"/>
                <a:gd name="connsiteX11" fmla="*/ 1156855 w 1422362"/>
                <a:gd name="connsiteY11" fmla="*/ 711300 h 2364314"/>
                <a:gd name="connsiteX12" fmla="*/ 927050 w 1422362"/>
                <a:gd name="connsiteY12" fmla="*/ 668923 h 2364314"/>
                <a:gd name="connsiteX13" fmla="*/ 957315 w 1422362"/>
                <a:gd name="connsiteY13" fmla="*/ 998137 h 2364314"/>
                <a:gd name="connsiteX14" fmla="*/ 905990 w 1422362"/>
                <a:gd name="connsiteY14" fmla="*/ 667881 h 2364314"/>
                <a:gd name="connsiteX15" fmla="*/ 711016 w 1422362"/>
                <a:gd name="connsiteY15" fmla="*/ 623587 h 2364314"/>
                <a:gd name="connsiteX16" fmla="*/ 729319 w 1422362"/>
                <a:gd name="connsiteY16" fmla="*/ 1011794 h 2364314"/>
                <a:gd name="connsiteX17" fmla="*/ 630106 w 1422362"/>
                <a:gd name="connsiteY17" fmla="*/ 73272 h 2364314"/>
                <a:gd name="connsiteX18" fmla="*/ 471802 w 1422362"/>
                <a:gd name="connsiteY18" fmla="*/ 199924 h 2364314"/>
                <a:gd name="connsiteX19" fmla="*/ 473286 w 1422362"/>
                <a:gd name="connsiteY19" fmla="*/ 1366094 h 2364314"/>
                <a:gd name="connsiteX20" fmla="*/ 338442 w 1422362"/>
                <a:gd name="connsiteY20" fmla="*/ 1312189 h 2364314"/>
                <a:gd name="connsiteX21" fmla="*/ 719 w 1422362"/>
                <a:gd name="connsiteY21" fmla="*/ 1011512 h 2364314"/>
                <a:gd name="connsiteX0" fmla="*/ 719 w 1422362"/>
                <a:gd name="connsiteY0" fmla="*/ 938672 h 2291474"/>
                <a:gd name="connsiteX1" fmla="*/ 140932 w 1422362"/>
                <a:gd name="connsiteY1" fmla="*/ 1334446 h 2291474"/>
                <a:gd name="connsiteX2" fmla="*/ 309182 w 1422362"/>
                <a:gd name="connsiteY2" fmla="*/ 1692891 h 2291474"/>
                <a:gd name="connsiteX3" fmla="*/ 548773 w 1422362"/>
                <a:gd name="connsiteY3" fmla="*/ 1917465 h 2291474"/>
                <a:gd name="connsiteX4" fmla="*/ 582370 w 1422362"/>
                <a:gd name="connsiteY4" fmla="*/ 2278359 h 2291474"/>
                <a:gd name="connsiteX5" fmla="*/ 1253027 w 1422362"/>
                <a:gd name="connsiteY5" fmla="*/ 2291474 h 2291474"/>
                <a:gd name="connsiteX6" fmla="*/ 1262460 w 1422362"/>
                <a:gd name="connsiteY6" fmla="*/ 1968201 h 2291474"/>
                <a:gd name="connsiteX7" fmla="*/ 1421092 w 1422362"/>
                <a:gd name="connsiteY7" fmla="*/ 1107675 h 2291474"/>
                <a:gd name="connsiteX8" fmla="*/ 1369124 w 1422362"/>
                <a:gd name="connsiteY8" fmla="*/ 681879 h 2291474"/>
                <a:gd name="connsiteX9" fmla="*/ 1176719 w 1422362"/>
                <a:gd name="connsiteY9" fmla="*/ 650210 h 2291474"/>
                <a:gd name="connsiteX10" fmla="*/ 1168953 w 1422362"/>
                <a:gd name="connsiteY10" fmla="*/ 949189 h 2291474"/>
                <a:gd name="connsiteX11" fmla="*/ 1156855 w 1422362"/>
                <a:gd name="connsiteY11" fmla="*/ 638460 h 2291474"/>
                <a:gd name="connsiteX12" fmla="*/ 927050 w 1422362"/>
                <a:gd name="connsiteY12" fmla="*/ 596083 h 2291474"/>
                <a:gd name="connsiteX13" fmla="*/ 957315 w 1422362"/>
                <a:gd name="connsiteY13" fmla="*/ 925297 h 2291474"/>
                <a:gd name="connsiteX14" fmla="*/ 905990 w 1422362"/>
                <a:gd name="connsiteY14" fmla="*/ 595041 h 2291474"/>
                <a:gd name="connsiteX15" fmla="*/ 711016 w 1422362"/>
                <a:gd name="connsiteY15" fmla="*/ 550747 h 2291474"/>
                <a:gd name="connsiteX16" fmla="*/ 729319 w 1422362"/>
                <a:gd name="connsiteY16" fmla="*/ 938954 h 2291474"/>
                <a:gd name="connsiteX17" fmla="*/ 673525 w 1422362"/>
                <a:gd name="connsiteY17" fmla="*/ 130688 h 2291474"/>
                <a:gd name="connsiteX18" fmla="*/ 471802 w 1422362"/>
                <a:gd name="connsiteY18" fmla="*/ 127084 h 2291474"/>
                <a:gd name="connsiteX19" fmla="*/ 473286 w 1422362"/>
                <a:gd name="connsiteY19" fmla="*/ 1293254 h 2291474"/>
                <a:gd name="connsiteX20" fmla="*/ 338442 w 1422362"/>
                <a:gd name="connsiteY20" fmla="*/ 1239349 h 2291474"/>
                <a:gd name="connsiteX21" fmla="*/ 719 w 1422362"/>
                <a:gd name="connsiteY21" fmla="*/ 938672 h 2291474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29319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29319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29319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14846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14846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14846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14846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48524 h 2301326"/>
                <a:gd name="connsiteX1" fmla="*/ 140932 w 1422362"/>
                <a:gd name="connsiteY1" fmla="*/ 1344298 h 2301326"/>
                <a:gd name="connsiteX2" fmla="*/ 309182 w 1422362"/>
                <a:gd name="connsiteY2" fmla="*/ 1702743 h 2301326"/>
                <a:gd name="connsiteX3" fmla="*/ 548773 w 1422362"/>
                <a:gd name="connsiteY3" fmla="*/ 1927317 h 2301326"/>
                <a:gd name="connsiteX4" fmla="*/ 582370 w 1422362"/>
                <a:gd name="connsiteY4" fmla="*/ 2288211 h 2301326"/>
                <a:gd name="connsiteX5" fmla="*/ 1253027 w 1422362"/>
                <a:gd name="connsiteY5" fmla="*/ 2301326 h 2301326"/>
                <a:gd name="connsiteX6" fmla="*/ 1262460 w 1422362"/>
                <a:gd name="connsiteY6" fmla="*/ 1978053 h 2301326"/>
                <a:gd name="connsiteX7" fmla="*/ 1421092 w 1422362"/>
                <a:gd name="connsiteY7" fmla="*/ 1117527 h 2301326"/>
                <a:gd name="connsiteX8" fmla="*/ 1369124 w 1422362"/>
                <a:gd name="connsiteY8" fmla="*/ 691731 h 2301326"/>
                <a:gd name="connsiteX9" fmla="*/ 1176719 w 1422362"/>
                <a:gd name="connsiteY9" fmla="*/ 660062 h 2301326"/>
                <a:gd name="connsiteX10" fmla="*/ 1168953 w 1422362"/>
                <a:gd name="connsiteY10" fmla="*/ 959041 h 2301326"/>
                <a:gd name="connsiteX11" fmla="*/ 1156855 w 1422362"/>
                <a:gd name="connsiteY11" fmla="*/ 648312 h 2301326"/>
                <a:gd name="connsiteX12" fmla="*/ 927050 w 1422362"/>
                <a:gd name="connsiteY12" fmla="*/ 605935 h 2301326"/>
                <a:gd name="connsiteX13" fmla="*/ 957315 w 1422362"/>
                <a:gd name="connsiteY13" fmla="*/ 935149 h 2301326"/>
                <a:gd name="connsiteX14" fmla="*/ 905990 w 1422362"/>
                <a:gd name="connsiteY14" fmla="*/ 604893 h 2301326"/>
                <a:gd name="connsiteX15" fmla="*/ 711016 w 1422362"/>
                <a:gd name="connsiteY15" fmla="*/ 560599 h 2301326"/>
                <a:gd name="connsiteX16" fmla="*/ 714846 w 1422362"/>
                <a:gd name="connsiteY16" fmla="*/ 948806 h 2301326"/>
                <a:gd name="connsiteX17" fmla="*/ 673525 w 1422362"/>
                <a:gd name="connsiteY17" fmla="*/ 140540 h 2301326"/>
                <a:gd name="connsiteX18" fmla="*/ 471802 w 1422362"/>
                <a:gd name="connsiteY18" fmla="*/ 136936 h 2301326"/>
                <a:gd name="connsiteX19" fmla="*/ 473286 w 1422362"/>
                <a:gd name="connsiteY19" fmla="*/ 1303106 h 2301326"/>
                <a:gd name="connsiteX20" fmla="*/ 338442 w 1422362"/>
                <a:gd name="connsiteY20" fmla="*/ 1249201 h 2301326"/>
                <a:gd name="connsiteX21" fmla="*/ 719 w 1422362"/>
                <a:gd name="connsiteY21" fmla="*/ 948524 h 2301326"/>
                <a:gd name="connsiteX0" fmla="*/ 719 w 1422362"/>
                <a:gd name="connsiteY0" fmla="*/ 914198 h 2267000"/>
                <a:gd name="connsiteX1" fmla="*/ 140932 w 1422362"/>
                <a:gd name="connsiteY1" fmla="*/ 1309972 h 2267000"/>
                <a:gd name="connsiteX2" fmla="*/ 309182 w 1422362"/>
                <a:gd name="connsiteY2" fmla="*/ 1668417 h 2267000"/>
                <a:gd name="connsiteX3" fmla="*/ 548773 w 1422362"/>
                <a:gd name="connsiteY3" fmla="*/ 1892991 h 2267000"/>
                <a:gd name="connsiteX4" fmla="*/ 582370 w 1422362"/>
                <a:gd name="connsiteY4" fmla="*/ 2253885 h 2267000"/>
                <a:gd name="connsiteX5" fmla="*/ 1253027 w 1422362"/>
                <a:gd name="connsiteY5" fmla="*/ 2267000 h 2267000"/>
                <a:gd name="connsiteX6" fmla="*/ 1262460 w 1422362"/>
                <a:gd name="connsiteY6" fmla="*/ 1943727 h 2267000"/>
                <a:gd name="connsiteX7" fmla="*/ 1421092 w 1422362"/>
                <a:gd name="connsiteY7" fmla="*/ 1083201 h 2267000"/>
                <a:gd name="connsiteX8" fmla="*/ 1369124 w 1422362"/>
                <a:gd name="connsiteY8" fmla="*/ 657405 h 2267000"/>
                <a:gd name="connsiteX9" fmla="*/ 1176719 w 1422362"/>
                <a:gd name="connsiteY9" fmla="*/ 625736 h 2267000"/>
                <a:gd name="connsiteX10" fmla="*/ 1168953 w 1422362"/>
                <a:gd name="connsiteY10" fmla="*/ 924715 h 2267000"/>
                <a:gd name="connsiteX11" fmla="*/ 1156855 w 1422362"/>
                <a:gd name="connsiteY11" fmla="*/ 613986 h 2267000"/>
                <a:gd name="connsiteX12" fmla="*/ 927050 w 1422362"/>
                <a:gd name="connsiteY12" fmla="*/ 571609 h 2267000"/>
                <a:gd name="connsiteX13" fmla="*/ 957315 w 1422362"/>
                <a:gd name="connsiteY13" fmla="*/ 900823 h 2267000"/>
                <a:gd name="connsiteX14" fmla="*/ 905990 w 1422362"/>
                <a:gd name="connsiteY14" fmla="*/ 570567 h 2267000"/>
                <a:gd name="connsiteX15" fmla="*/ 711016 w 1422362"/>
                <a:gd name="connsiteY15" fmla="*/ 526273 h 2267000"/>
                <a:gd name="connsiteX16" fmla="*/ 714846 w 1422362"/>
                <a:gd name="connsiteY16" fmla="*/ 914480 h 2267000"/>
                <a:gd name="connsiteX17" fmla="*/ 673525 w 1422362"/>
                <a:gd name="connsiteY17" fmla="*/ 106214 h 2267000"/>
                <a:gd name="connsiteX18" fmla="*/ 486275 w 1422362"/>
                <a:gd name="connsiteY18" fmla="*/ 174974 h 2267000"/>
                <a:gd name="connsiteX19" fmla="*/ 473286 w 1422362"/>
                <a:gd name="connsiteY19" fmla="*/ 1268780 h 2267000"/>
                <a:gd name="connsiteX20" fmla="*/ 338442 w 1422362"/>
                <a:gd name="connsiteY20" fmla="*/ 1214875 h 2267000"/>
                <a:gd name="connsiteX21" fmla="*/ 719 w 1422362"/>
                <a:gd name="connsiteY21" fmla="*/ 914198 h 2267000"/>
                <a:gd name="connsiteX0" fmla="*/ 719 w 1422362"/>
                <a:gd name="connsiteY0" fmla="*/ 897709 h 2250511"/>
                <a:gd name="connsiteX1" fmla="*/ 140932 w 1422362"/>
                <a:gd name="connsiteY1" fmla="*/ 1293483 h 2250511"/>
                <a:gd name="connsiteX2" fmla="*/ 309182 w 1422362"/>
                <a:gd name="connsiteY2" fmla="*/ 1651928 h 2250511"/>
                <a:gd name="connsiteX3" fmla="*/ 548773 w 1422362"/>
                <a:gd name="connsiteY3" fmla="*/ 1876502 h 2250511"/>
                <a:gd name="connsiteX4" fmla="*/ 582370 w 1422362"/>
                <a:gd name="connsiteY4" fmla="*/ 2237396 h 2250511"/>
                <a:gd name="connsiteX5" fmla="*/ 1253027 w 1422362"/>
                <a:gd name="connsiteY5" fmla="*/ 2250511 h 2250511"/>
                <a:gd name="connsiteX6" fmla="*/ 1262460 w 1422362"/>
                <a:gd name="connsiteY6" fmla="*/ 1927238 h 2250511"/>
                <a:gd name="connsiteX7" fmla="*/ 1421092 w 1422362"/>
                <a:gd name="connsiteY7" fmla="*/ 1066712 h 2250511"/>
                <a:gd name="connsiteX8" fmla="*/ 1369124 w 1422362"/>
                <a:gd name="connsiteY8" fmla="*/ 640916 h 2250511"/>
                <a:gd name="connsiteX9" fmla="*/ 1176719 w 1422362"/>
                <a:gd name="connsiteY9" fmla="*/ 609247 h 2250511"/>
                <a:gd name="connsiteX10" fmla="*/ 1168953 w 1422362"/>
                <a:gd name="connsiteY10" fmla="*/ 908226 h 2250511"/>
                <a:gd name="connsiteX11" fmla="*/ 1156855 w 1422362"/>
                <a:gd name="connsiteY11" fmla="*/ 597497 h 2250511"/>
                <a:gd name="connsiteX12" fmla="*/ 927050 w 1422362"/>
                <a:gd name="connsiteY12" fmla="*/ 555120 h 2250511"/>
                <a:gd name="connsiteX13" fmla="*/ 957315 w 1422362"/>
                <a:gd name="connsiteY13" fmla="*/ 884334 h 2250511"/>
                <a:gd name="connsiteX14" fmla="*/ 905990 w 1422362"/>
                <a:gd name="connsiteY14" fmla="*/ 554078 h 2250511"/>
                <a:gd name="connsiteX15" fmla="*/ 711016 w 1422362"/>
                <a:gd name="connsiteY15" fmla="*/ 509784 h 2250511"/>
                <a:gd name="connsiteX16" fmla="*/ 714846 w 1422362"/>
                <a:gd name="connsiteY16" fmla="*/ 897991 h 2250511"/>
                <a:gd name="connsiteX17" fmla="*/ 683174 w 1422362"/>
                <a:gd name="connsiteY17" fmla="*/ 118671 h 2250511"/>
                <a:gd name="connsiteX18" fmla="*/ 486275 w 1422362"/>
                <a:gd name="connsiteY18" fmla="*/ 158485 h 2250511"/>
                <a:gd name="connsiteX19" fmla="*/ 473286 w 1422362"/>
                <a:gd name="connsiteY19" fmla="*/ 1252291 h 2250511"/>
                <a:gd name="connsiteX20" fmla="*/ 338442 w 1422362"/>
                <a:gd name="connsiteY20" fmla="*/ 1198386 h 2250511"/>
                <a:gd name="connsiteX21" fmla="*/ 719 w 1422362"/>
                <a:gd name="connsiteY21" fmla="*/ 897709 h 2250511"/>
                <a:gd name="connsiteX0" fmla="*/ 719 w 1422362"/>
                <a:gd name="connsiteY0" fmla="*/ 897709 h 2250511"/>
                <a:gd name="connsiteX1" fmla="*/ 140932 w 1422362"/>
                <a:gd name="connsiteY1" fmla="*/ 1293483 h 2250511"/>
                <a:gd name="connsiteX2" fmla="*/ 309182 w 1422362"/>
                <a:gd name="connsiteY2" fmla="*/ 1651928 h 2250511"/>
                <a:gd name="connsiteX3" fmla="*/ 548773 w 1422362"/>
                <a:gd name="connsiteY3" fmla="*/ 1876502 h 2250511"/>
                <a:gd name="connsiteX4" fmla="*/ 582370 w 1422362"/>
                <a:gd name="connsiteY4" fmla="*/ 2237396 h 2250511"/>
                <a:gd name="connsiteX5" fmla="*/ 1253027 w 1422362"/>
                <a:gd name="connsiteY5" fmla="*/ 2250511 h 2250511"/>
                <a:gd name="connsiteX6" fmla="*/ 1262460 w 1422362"/>
                <a:gd name="connsiteY6" fmla="*/ 1927238 h 2250511"/>
                <a:gd name="connsiteX7" fmla="*/ 1421092 w 1422362"/>
                <a:gd name="connsiteY7" fmla="*/ 1066712 h 2250511"/>
                <a:gd name="connsiteX8" fmla="*/ 1369124 w 1422362"/>
                <a:gd name="connsiteY8" fmla="*/ 640916 h 2250511"/>
                <a:gd name="connsiteX9" fmla="*/ 1176719 w 1422362"/>
                <a:gd name="connsiteY9" fmla="*/ 609247 h 2250511"/>
                <a:gd name="connsiteX10" fmla="*/ 1168953 w 1422362"/>
                <a:gd name="connsiteY10" fmla="*/ 908226 h 2250511"/>
                <a:gd name="connsiteX11" fmla="*/ 1156855 w 1422362"/>
                <a:gd name="connsiteY11" fmla="*/ 597497 h 2250511"/>
                <a:gd name="connsiteX12" fmla="*/ 927050 w 1422362"/>
                <a:gd name="connsiteY12" fmla="*/ 555120 h 2250511"/>
                <a:gd name="connsiteX13" fmla="*/ 957315 w 1422362"/>
                <a:gd name="connsiteY13" fmla="*/ 884334 h 2250511"/>
                <a:gd name="connsiteX14" fmla="*/ 905990 w 1422362"/>
                <a:gd name="connsiteY14" fmla="*/ 554078 h 2250511"/>
                <a:gd name="connsiteX15" fmla="*/ 711016 w 1422362"/>
                <a:gd name="connsiteY15" fmla="*/ 509784 h 2250511"/>
                <a:gd name="connsiteX16" fmla="*/ 714846 w 1422362"/>
                <a:gd name="connsiteY16" fmla="*/ 897991 h 2250511"/>
                <a:gd name="connsiteX17" fmla="*/ 683174 w 1422362"/>
                <a:gd name="connsiteY17" fmla="*/ 118671 h 2250511"/>
                <a:gd name="connsiteX18" fmla="*/ 486275 w 1422362"/>
                <a:gd name="connsiteY18" fmla="*/ 158485 h 2250511"/>
                <a:gd name="connsiteX19" fmla="*/ 473286 w 1422362"/>
                <a:gd name="connsiteY19" fmla="*/ 1252291 h 2250511"/>
                <a:gd name="connsiteX20" fmla="*/ 338442 w 1422362"/>
                <a:gd name="connsiteY20" fmla="*/ 1198386 h 2250511"/>
                <a:gd name="connsiteX21" fmla="*/ 719 w 1422362"/>
                <a:gd name="connsiteY21" fmla="*/ 897709 h 2250511"/>
                <a:gd name="connsiteX0" fmla="*/ 719 w 1422362"/>
                <a:gd name="connsiteY0" fmla="*/ 904644 h 2257446"/>
                <a:gd name="connsiteX1" fmla="*/ 140932 w 1422362"/>
                <a:gd name="connsiteY1" fmla="*/ 1300418 h 2257446"/>
                <a:gd name="connsiteX2" fmla="*/ 309182 w 1422362"/>
                <a:gd name="connsiteY2" fmla="*/ 1658863 h 2257446"/>
                <a:gd name="connsiteX3" fmla="*/ 548773 w 1422362"/>
                <a:gd name="connsiteY3" fmla="*/ 1883437 h 2257446"/>
                <a:gd name="connsiteX4" fmla="*/ 582370 w 1422362"/>
                <a:gd name="connsiteY4" fmla="*/ 2244331 h 2257446"/>
                <a:gd name="connsiteX5" fmla="*/ 1253027 w 1422362"/>
                <a:gd name="connsiteY5" fmla="*/ 2257446 h 2257446"/>
                <a:gd name="connsiteX6" fmla="*/ 1262460 w 1422362"/>
                <a:gd name="connsiteY6" fmla="*/ 1934173 h 2257446"/>
                <a:gd name="connsiteX7" fmla="*/ 1421092 w 1422362"/>
                <a:gd name="connsiteY7" fmla="*/ 1073647 h 2257446"/>
                <a:gd name="connsiteX8" fmla="*/ 1369124 w 1422362"/>
                <a:gd name="connsiteY8" fmla="*/ 647851 h 2257446"/>
                <a:gd name="connsiteX9" fmla="*/ 1176719 w 1422362"/>
                <a:gd name="connsiteY9" fmla="*/ 616182 h 2257446"/>
                <a:gd name="connsiteX10" fmla="*/ 1168953 w 1422362"/>
                <a:gd name="connsiteY10" fmla="*/ 915161 h 2257446"/>
                <a:gd name="connsiteX11" fmla="*/ 1156855 w 1422362"/>
                <a:gd name="connsiteY11" fmla="*/ 604432 h 2257446"/>
                <a:gd name="connsiteX12" fmla="*/ 927050 w 1422362"/>
                <a:gd name="connsiteY12" fmla="*/ 562055 h 2257446"/>
                <a:gd name="connsiteX13" fmla="*/ 957315 w 1422362"/>
                <a:gd name="connsiteY13" fmla="*/ 891269 h 2257446"/>
                <a:gd name="connsiteX14" fmla="*/ 905990 w 1422362"/>
                <a:gd name="connsiteY14" fmla="*/ 561013 h 2257446"/>
                <a:gd name="connsiteX15" fmla="*/ 711016 w 1422362"/>
                <a:gd name="connsiteY15" fmla="*/ 516719 h 2257446"/>
                <a:gd name="connsiteX16" fmla="*/ 714846 w 1422362"/>
                <a:gd name="connsiteY16" fmla="*/ 904926 h 2257446"/>
                <a:gd name="connsiteX17" fmla="*/ 683174 w 1422362"/>
                <a:gd name="connsiteY17" fmla="*/ 125606 h 2257446"/>
                <a:gd name="connsiteX18" fmla="*/ 486275 w 1422362"/>
                <a:gd name="connsiteY18" fmla="*/ 165420 h 2257446"/>
                <a:gd name="connsiteX19" fmla="*/ 473286 w 1422362"/>
                <a:gd name="connsiteY19" fmla="*/ 1259226 h 2257446"/>
                <a:gd name="connsiteX20" fmla="*/ 338442 w 1422362"/>
                <a:gd name="connsiteY20" fmla="*/ 1205321 h 2257446"/>
                <a:gd name="connsiteX21" fmla="*/ 719 w 1422362"/>
                <a:gd name="connsiteY21" fmla="*/ 904644 h 2257446"/>
                <a:gd name="connsiteX0" fmla="*/ 719 w 1422362"/>
                <a:gd name="connsiteY0" fmla="*/ 900955 h 2253757"/>
                <a:gd name="connsiteX1" fmla="*/ 140932 w 1422362"/>
                <a:gd name="connsiteY1" fmla="*/ 1296729 h 2253757"/>
                <a:gd name="connsiteX2" fmla="*/ 309182 w 1422362"/>
                <a:gd name="connsiteY2" fmla="*/ 1655174 h 2253757"/>
                <a:gd name="connsiteX3" fmla="*/ 548773 w 1422362"/>
                <a:gd name="connsiteY3" fmla="*/ 1879748 h 2253757"/>
                <a:gd name="connsiteX4" fmla="*/ 582370 w 1422362"/>
                <a:gd name="connsiteY4" fmla="*/ 2240642 h 2253757"/>
                <a:gd name="connsiteX5" fmla="*/ 1253027 w 1422362"/>
                <a:gd name="connsiteY5" fmla="*/ 2253757 h 2253757"/>
                <a:gd name="connsiteX6" fmla="*/ 1262460 w 1422362"/>
                <a:gd name="connsiteY6" fmla="*/ 1930484 h 2253757"/>
                <a:gd name="connsiteX7" fmla="*/ 1421092 w 1422362"/>
                <a:gd name="connsiteY7" fmla="*/ 1069958 h 2253757"/>
                <a:gd name="connsiteX8" fmla="*/ 1369124 w 1422362"/>
                <a:gd name="connsiteY8" fmla="*/ 644162 h 2253757"/>
                <a:gd name="connsiteX9" fmla="*/ 1176719 w 1422362"/>
                <a:gd name="connsiteY9" fmla="*/ 612493 h 2253757"/>
                <a:gd name="connsiteX10" fmla="*/ 1168953 w 1422362"/>
                <a:gd name="connsiteY10" fmla="*/ 911472 h 2253757"/>
                <a:gd name="connsiteX11" fmla="*/ 1156855 w 1422362"/>
                <a:gd name="connsiteY11" fmla="*/ 600743 h 2253757"/>
                <a:gd name="connsiteX12" fmla="*/ 927050 w 1422362"/>
                <a:gd name="connsiteY12" fmla="*/ 558366 h 2253757"/>
                <a:gd name="connsiteX13" fmla="*/ 957315 w 1422362"/>
                <a:gd name="connsiteY13" fmla="*/ 887580 h 2253757"/>
                <a:gd name="connsiteX14" fmla="*/ 905990 w 1422362"/>
                <a:gd name="connsiteY14" fmla="*/ 557324 h 2253757"/>
                <a:gd name="connsiteX15" fmla="*/ 711016 w 1422362"/>
                <a:gd name="connsiteY15" fmla="*/ 513030 h 2253757"/>
                <a:gd name="connsiteX16" fmla="*/ 714846 w 1422362"/>
                <a:gd name="connsiteY16" fmla="*/ 901237 h 2253757"/>
                <a:gd name="connsiteX17" fmla="*/ 683174 w 1422362"/>
                <a:gd name="connsiteY17" fmla="*/ 121917 h 2253757"/>
                <a:gd name="connsiteX18" fmla="*/ 486275 w 1422362"/>
                <a:gd name="connsiteY18" fmla="*/ 161731 h 2253757"/>
                <a:gd name="connsiteX19" fmla="*/ 473286 w 1422362"/>
                <a:gd name="connsiteY19" fmla="*/ 1255537 h 2253757"/>
                <a:gd name="connsiteX20" fmla="*/ 338442 w 1422362"/>
                <a:gd name="connsiteY20" fmla="*/ 1201632 h 2253757"/>
                <a:gd name="connsiteX21" fmla="*/ 719 w 1422362"/>
                <a:gd name="connsiteY21" fmla="*/ 900955 h 2253757"/>
                <a:gd name="connsiteX0" fmla="*/ 719 w 1422362"/>
                <a:gd name="connsiteY0" fmla="*/ 900955 h 2253757"/>
                <a:gd name="connsiteX1" fmla="*/ 140932 w 1422362"/>
                <a:gd name="connsiteY1" fmla="*/ 1296729 h 2253757"/>
                <a:gd name="connsiteX2" fmla="*/ 309182 w 1422362"/>
                <a:gd name="connsiteY2" fmla="*/ 1655174 h 2253757"/>
                <a:gd name="connsiteX3" fmla="*/ 548773 w 1422362"/>
                <a:gd name="connsiteY3" fmla="*/ 1879748 h 2253757"/>
                <a:gd name="connsiteX4" fmla="*/ 582370 w 1422362"/>
                <a:gd name="connsiteY4" fmla="*/ 2240642 h 2253757"/>
                <a:gd name="connsiteX5" fmla="*/ 1253027 w 1422362"/>
                <a:gd name="connsiteY5" fmla="*/ 2253757 h 2253757"/>
                <a:gd name="connsiteX6" fmla="*/ 1262460 w 1422362"/>
                <a:gd name="connsiteY6" fmla="*/ 1930484 h 2253757"/>
                <a:gd name="connsiteX7" fmla="*/ 1421092 w 1422362"/>
                <a:gd name="connsiteY7" fmla="*/ 1069958 h 2253757"/>
                <a:gd name="connsiteX8" fmla="*/ 1369124 w 1422362"/>
                <a:gd name="connsiteY8" fmla="*/ 644162 h 2253757"/>
                <a:gd name="connsiteX9" fmla="*/ 1176719 w 1422362"/>
                <a:gd name="connsiteY9" fmla="*/ 612493 h 2253757"/>
                <a:gd name="connsiteX10" fmla="*/ 1168953 w 1422362"/>
                <a:gd name="connsiteY10" fmla="*/ 911472 h 2253757"/>
                <a:gd name="connsiteX11" fmla="*/ 1156855 w 1422362"/>
                <a:gd name="connsiteY11" fmla="*/ 600743 h 2253757"/>
                <a:gd name="connsiteX12" fmla="*/ 927050 w 1422362"/>
                <a:gd name="connsiteY12" fmla="*/ 558366 h 2253757"/>
                <a:gd name="connsiteX13" fmla="*/ 957315 w 1422362"/>
                <a:gd name="connsiteY13" fmla="*/ 887580 h 2253757"/>
                <a:gd name="connsiteX14" fmla="*/ 905990 w 1422362"/>
                <a:gd name="connsiteY14" fmla="*/ 557324 h 2253757"/>
                <a:gd name="connsiteX15" fmla="*/ 711016 w 1422362"/>
                <a:gd name="connsiteY15" fmla="*/ 513030 h 2253757"/>
                <a:gd name="connsiteX16" fmla="*/ 714846 w 1422362"/>
                <a:gd name="connsiteY16" fmla="*/ 901237 h 2253757"/>
                <a:gd name="connsiteX17" fmla="*/ 683174 w 1422362"/>
                <a:gd name="connsiteY17" fmla="*/ 121917 h 2253757"/>
                <a:gd name="connsiteX18" fmla="*/ 486275 w 1422362"/>
                <a:gd name="connsiteY18" fmla="*/ 161731 h 2253757"/>
                <a:gd name="connsiteX19" fmla="*/ 463637 w 1422362"/>
                <a:gd name="connsiteY19" fmla="*/ 1183173 h 2253757"/>
                <a:gd name="connsiteX20" fmla="*/ 338442 w 1422362"/>
                <a:gd name="connsiteY20" fmla="*/ 1201632 h 2253757"/>
                <a:gd name="connsiteX21" fmla="*/ 719 w 1422362"/>
                <a:gd name="connsiteY21" fmla="*/ 900955 h 2253757"/>
                <a:gd name="connsiteX0" fmla="*/ 719 w 1422362"/>
                <a:gd name="connsiteY0" fmla="*/ 900955 h 2253757"/>
                <a:gd name="connsiteX1" fmla="*/ 140932 w 1422362"/>
                <a:gd name="connsiteY1" fmla="*/ 1296729 h 2253757"/>
                <a:gd name="connsiteX2" fmla="*/ 309182 w 1422362"/>
                <a:gd name="connsiteY2" fmla="*/ 1655174 h 2253757"/>
                <a:gd name="connsiteX3" fmla="*/ 548773 w 1422362"/>
                <a:gd name="connsiteY3" fmla="*/ 1879748 h 2253757"/>
                <a:gd name="connsiteX4" fmla="*/ 582370 w 1422362"/>
                <a:gd name="connsiteY4" fmla="*/ 2240642 h 2253757"/>
                <a:gd name="connsiteX5" fmla="*/ 1253027 w 1422362"/>
                <a:gd name="connsiteY5" fmla="*/ 2253757 h 2253757"/>
                <a:gd name="connsiteX6" fmla="*/ 1262460 w 1422362"/>
                <a:gd name="connsiteY6" fmla="*/ 1930484 h 2253757"/>
                <a:gd name="connsiteX7" fmla="*/ 1421092 w 1422362"/>
                <a:gd name="connsiteY7" fmla="*/ 1069958 h 2253757"/>
                <a:gd name="connsiteX8" fmla="*/ 1369124 w 1422362"/>
                <a:gd name="connsiteY8" fmla="*/ 644162 h 2253757"/>
                <a:gd name="connsiteX9" fmla="*/ 1176719 w 1422362"/>
                <a:gd name="connsiteY9" fmla="*/ 612493 h 2253757"/>
                <a:gd name="connsiteX10" fmla="*/ 1168953 w 1422362"/>
                <a:gd name="connsiteY10" fmla="*/ 911472 h 2253757"/>
                <a:gd name="connsiteX11" fmla="*/ 1156855 w 1422362"/>
                <a:gd name="connsiteY11" fmla="*/ 600743 h 2253757"/>
                <a:gd name="connsiteX12" fmla="*/ 927050 w 1422362"/>
                <a:gd name="connsiteY12" fmla="*/ 558366 h 2253757"/>
                <a:gd name="connsiteX13" fmla="*/ 957315 w 1422362"/>
                <a:gd name="connsiteY13" fmla="*/ 887580 h 2253757"/>
                <a:gd name="connsiteX14" fmla="*/ 905990 w 1422362"/>
                <a:gd name="connsiteY14" fmla="*/ 557324 h 2253757"/>
                <a:gd name="connsiteX15" fmla="*/ 711016 w 1422362"/>
                <a:gd name="connsiteY15" fmla="*/ 513030 h 2253757"/>
                <a:gd name="connsiteX16" fmla="*/ 714846 w 1422362"/>
                <a:gd name="connsiteY16" fmla="*/ 901237 h 2253757"/>
                <a:gd name="connsiteX17" fmla="*/ 683174 w 1422362"/>
                <a:gd name="connsiteY17" fmla="*/ 121917 h 2253757"/>
                <a:gd name="connsiteX18" fmla="*/ 486275 w 1422362"/>
                <a:gd name="connsiteY18" fmla="*/ 161731 h 2253757"/>
                <a:gd name="connsiteX19" fmla="*/ 463637 w 1422362"/>
                <a:gd name="connsiteY19" fmla="*/ 1183173 h 2253757"/>
                <a:gd name="connsiteX20" fmla="*/ 304672 w 1422362"/>
                <a:gd name="connsiteY20" fmla="*/ 1148565 h 2253757"/>
                <a:gd name="connsiteX21" fmla="*/ 719 w 1422362"/>
                <a:gd name="connsiteY21" fmla="*/ 900955 h 2253757"/>
                <a:gd name="connsiteX0" fmla="*/ 719 w 1422362"/>
                <a:gd name="connsiteY0" fmla="*/ 900955 h 2253757"/>
                <a:gd name="connsiteX1" fmla="*/ 140932 w 1422362"/>
                <a:gd name="connsiteY1" fmla="*/ 1296729 h 2253757"/>
                <a:gd name="connsiteX2" fmla="*/ 309182 w 1422362"/>
                <a:gd name="connsiteY2" fmla="*/ 1655174 h 2253757"/>
                <a:gd name="connsiteX3" fmla="*/ 548773 w 1422362"/>
                <a:gd name="connsiteY3" fmla="*/ 1879748 h 2253757"/>
                <a:gd name="connsiteX4" fmla="*/ 582370 w 1422362"/>
                <a:gd name="connsiteY4" fmla="*/ 2240642 h 2253757"/>
                <a:gd name="connsiteX5" fmla="*/ 1253027 w 1422362"/>
                <a:gd name="connsiteY5" fmla="*/ 2253757 h 2253757"/>
                <a:gd name="connsiteX6" fmla="*/ 1262460 w 1422362"/>
                <a:gd name="connsiteY6" fmla="*/ 1930484 h 2253757"/>
                <a:gd name="connsiteX7" fmla="*/ 1421092 w 1422362"/>
                <a:gd name="connsiteY7" fmla="*/ 1069958 h 2253757"/>
                <a:gd name="connsiteX8" fmla="*/ 1369124 w 1422362"/>
                <a:gd name="connsiteY8" fmla="*/ 644162 h 2253757"/>
                <a:gd name="connsiteX9" fmla="*/ 1176719 w 1422362"/>
                <a:gd name="connsiteY9" fmla="*/ 612493 h 2253757"/>
                <a:gd name="connsiteX10" fmla="*/ 1168953 w 1422362"/>
                <a:gd name="connsiteY10" fmla="*/ 911472 h 2253757"/>
                <a:gd name="connsiteX11" fmla="*/ 1156855 w 1422362"/>
                <a:gd name="connsiteY11" fmla="*/ 600743 h 2253757"/>
                <a:gd name="connsiteX12" fmla="*/ 927050 w 1422362"/>
                <a:gd name="connsiteY12" fmla="*/ 558366 h 2253757"/>
                <a:gd name="connsiteX13" fmla="*/ 957315 w 1422362"/>
                <a:gd name="connsiteY13" fmla="*/ 887580 h 2253757"/>
                <a:gd name="connsiteX14" fmla="*/ 905990 w 1422362"/>
                <a:gd name="connsiteY14" fmla="*/ 557324 h 2253757"/>
                <a:gd name="connsiteX15" fmla="*/ 711016 w 1422362"/>
                <a:gd name="connsiteY15" fmla="*/ 513030 h 2253757"/>
                <a:gd name="connsiteX16" fmla="*/ 714846 w 1422362"/>
                <a:gd name="connsiteY16" fmla="*/ 901237 h 2253757"/>
                <a:gd name="connsiteX17" fmla="*/ 683174 w 1422362"/>
                <a:gd name="connsiteY17" fmla="*/ 121917 h 2253757"/>
                <a:gd name="connsiteX18" fmla="*/ 486275 w 1422362"/>
                <a:gd name="connsiteY18" fmla="*/ 161731 h 2253757"/>
                <a:gd name="connsiteX19" fmla="*/ 463637 w 1422362"/>
                <a:gd name="connsiteY19" fmla="*/ 1183173 h 2253757"/>
                <a:gd name="connsiteX20" fmla="*/ 304672 w 1422362"/>
                <a:gd name="connsiteY20" fmla="*/ 1148565 h 2253757"/>
                <a:gd name="connsiteX21" fmla="*/ 719 w 1422362"/>
                <a:gd name="connsiteY21" fmla="*/ 900955 h 2253757"/>
                <a:gd name="connsiteX0" fmla="*/ 719 w 1422362"/>
                <a:gd name="connsiteY0" fmla="*/ 900955 h 2253757"/>
                <a:gd name="connsiteX1" fmla="*/ 140932 w 1422362"/>
                <a:gd name="connsiteY1" fmla="*/ 1296729 h 2253757"/>
                <a:gd name="connsiteX2" fmla="*/ 309182 w 1422362"/>
                <a:gd name="connsiteY2" fmla="*/ 1655174 h 2253757"/>
                <a:gd name="connsiteX3" fmla="*/ 548773 w 1422362"/>
                <a:gd name="connsiteY3" fmla="*/ 1879748 h 2253757"/>
                <a:gd name="connsiteX4" fmla="*/ 582370 w 1422362"/>
                <a:gd name="connsiteY4" fmla="*/ 2240642 h 2253757"/>
                <a:gd name="connsiteX5" fmla="*/ 1253027 w 1422362"/>
                <a:gd name="connsiteY5" fmla="*/ 2253757 h 2253757"/>
                <a:gd name="connsiteX6" fmla="*/ 1262460 w 1422362"/>
                <a:gd name="connsiteY6" fmla="*/ 1930484 h 2253757"/>
                <a:gd name="connsiteX7" fmla="*/ 1421092 w 1422362"/>
                <a:gd name="connsiteY7" fmla="*/ 1069958 h 2253757"/>
                <a:gd name="connsiteX8" fmla="*/ 1369124 w 1422362"/>
                <a:gd name="connsiteY8" fmla="*/ 644162 h 2253757"/>
                <a:gd name="connsiteX9" fmla="*/ 1176719 w 1422362"/>
                <a:gd name="connsiteY9" fmla="*/ 612493 h 2253757"/>
                <a:gd name="connsiteX10" fmla="*/ 1168953 w 1422362"/>
                <a:gd name="connsiteY10" fmla="*/ 911472 h 2253757"/>
                <a:gd name="connsiteX11" fmla="*/ 1156855 w 1422362"/>
                <a:gd name="connsiteY11" fmla="*/ 600743 h 2253757"/>
                <a:gd name="connsiteX12" fmla="*/ 927050 w 1422362"/>
                <a:gd name="connsiteY12" fmla="*/ 558366 h 2253757"/>
                <a:gd name="connsiteX13" fmla="*/ 957315 w 1422362"/>
                <a:gd name="connsiteY13" fmla="*/ 887580 h 2253757"/>
                <a:gd name="connsiteX14" fmla="*/ 905990 w 1422362"/>
                <a:gd name="connsiteY14" fmla="*/ 557324 h 2253757"/>
                <a:gd name="connsiteX15" fmla="*/ 711016 w 1422362"/>
                <a:gd name="connsiteY15" fmla="*/ 513030 h 2253757"/>
                <a:gd name="connsiteX16" fmla="*/ 714846 w 1422362"/>
                <a:gd name="connsiteY16" fmla="*/ 901237 h 2253757"/>
                <a:gd name="connsiteX17" fmla="*/ 683174 w 1422362"/>
                <a:gd name="connsiteY17" fmla="*/ 121917 h 2253757"/>
                <a:gd name="connsiteX18" fmla="*/ 486275 w 1422362"/>
                <a:gd name="connsiteY18" fmla="*/ 161731 h 2253757"/>
                <a:gd name="connsiteX19" fmla="*/ 463637 w 1422362"/>
                <a:gd name="connsiteY19" fmla="*/ 1183173 h 2253757"/>
                <a:gd name="connsiteX20" fmla="*/ 304672 w 1422362"/>
                <a:gd name="connsiteY20" fmla="*/ 1148565 h 2253757"/>
                <a:gd name="connsiteX21" fmla="*/ 719 w 1422362"/>
                <a:gd name="connsiteY21" fmla="*/ 900955 h 2253757"/>
                <a:gd name="connsiteX0" fmla="*/ 436 w 1494443"/>
                <a:gd name="connsiteY0" fmla="*/ 886482 h 2253757"/>
                <a:gd name="connsiteX1" fmla="*/ 213013 w 1494443"/>
                <a:gd name="connsiteY1" fmla="*/ 1296729 h 2253757"/>
                <a:gd name="connsiteX2" fmla="*/ 381263 w 1494443"/>
                <a:gd name="connsiteY2" fmla="*/ 1655174 h 2253757"/>
                <a:gd name="connsiteX3" fmla="*/ 620854 w 1494443"/>
                <a:gd name="connsiteY3" fmla="*/ 1879748 h 2253757"/>
                <a:gd name="connsiteX4" fmla="*/ 654451 w 1494443"/>
                <a:gd name="connsiteY4" fmla="*/ 2240642 h 2253757"/>
                <a:gd name="connsiteX5" fmla="*/ 1325108 w 1494443"/>
                <a:gd name="connsiteY5" fmla="*/ 2253757 h 2253757"/>
                <a:gd name="connsiteX6" fmla="*/ 1334541 w 1494443"/>
                <a:gd name="connsiteY6" fmla="*/ 1930484 h 2253757"/>
                <a:gd name="connsiteX7" fmla="*/ 1493173 w 1494443"/>
                <a:gd name="connsiteY7" fmla="*/ 1069958 h 2253757"/>
                <a:gd name="connsiteX8" fmla="*/ 1441205 w 1494443"/>
                <a:gd name="connsiteY8" fmla="*/ 644162 h 2253757"/>
                <a:gd name="connsiteX9" fmla="*/ 1248800 w 1494443"/>
                <a:gd name="connsiteY9" fmla="*/ 612493 h 2253757"/>
                <a:gd name="connsiteX10" fmla="*/ 1241034 w 1494443"/>
                <a:gd name="connsiteY10" fmla="*/ 911472 h 2253757"/>
                <a:gd name="connsiteX11" fmla="*/ 1228936 w 1494443"/>
                <a:gd name="connsiteY11" fmla="*/ 600743 h 2253757"/>
                <a:gd name="connsiteX12" fmla="*/ 999131 w 1494443"/>
                <a:gd name="connsiteY12" fmla="*/ 558366 h 2253757"/>
                <a:gd name="connsiteX13" fmla="*/ 1029396 w 1494443"/>
                <a:gd name="connsiteY13" fmla="*/ 887580 h 2253757"/>
                <a:gd name="connsiteX14" fmla="*/ 978071 w 1494443"/>
                <a:gd name="connsiteY14" fmla="*/ 557324 h 2253757"/>
                <a:gd name="connsiteX15" fmla="*/ 783097 w 1494443"/>
                <a:gd name="connsiteY15" fmla="*/ 513030 h 2253757"/>
                <a:gd name="connsiteX16" fmla="*/ 786927 w 1494443"/>
                <a:gd name="connsiteY16" fmla="*/ 901237 h 2253757"/>
                <a:gd name="connsiteX17" fmla="*/ 755255 w 1494443"/>
                <a:gd name="connsiteY17" fmla="*/ 121917 h 2253757"/>
                <a:gd name="connsiteX18" fmla="*/ 558356 w 1494443"/>
                <a:gd name="connsiteY18" fmla="*/ 161731 h 2253757"/>
                <a:gd name="connsiteX19" fmla="*/ 535718 w 1494443"/>
                <a:gd name="connsiteY19" fmla="*/ 1183173 h 2253757"/>
                <a:gd name="connsiteX20" fmla="*/ 376753 w 1494443"/>
                <a:gd name="connsiteY20" fmla="*/ 1148565 h 2253757"/>
                <a:gd name="connsiteX21" fmla="*/ 436 w 1494443"/>
                <a:gd name="connsiteY21" fmla="*/ 886482 h 2253757"/>
                <a:gd name="connsiteX0" fmla="*/ 436 w 1494443"/>
                <a:gd name="connsiteY0" fmla="*/ 886482 h 2253757"/>
                <a:gd name="connsiteX1" fmla="*/ 213013 w 1494443"/>
                <a:gd name="connsiteY1" fmla="*/ 1296729 h 2253757"/>
                <a:gd name="connsiteX2" fmla="*/ 381263 w 1494443"/>
                <a:gd name="connsiteY2" fmla="*/ 1655174 h 2253757"/>
                <a:gd name="connsiteX3" fmla="*/ 620854 w 1494443"/>
                <a:gd name="connsiteY3" fmla="*/ 1879748 h 2253757"/>
                <a:gd name="connsiteX4" fmla="*/ 654451 w 1494443"/>
                <a:gd name="connsiteY4" fmla="*/ 2240642 h 2253757"/>
                <a:gd name="connsiteX5" fmla="*/ 1325108 w 1494443"/>
                <a:gd name="connsiteY5" fmla="*/ 2253757 h 2253757"/>
                <a:gd name="connsiteX6" fmla="*/ 1334541 w 1494443"/>
                <a:gd name="connsiteY6" fmla="*/ 1930484 h 2253757"/>
                <a:gd name="connsiteX7" fmla="*/ 1493173 w 1494443"/>
                <a:gd name="connsiteY7" fmla="*/ 1069958 h 2253757"/>
                <a:gd name="connsiteX8" fmla="*/ 1441205 w 1494443"/>
                <a:gd name="connsiteY8" fmla="*/ 644162 h 2253757"/>
                <a:gd name="connsiteX9" fmla="*/ 1248800 w 1494443"/>
                <a:gd name="connsiteY9" fmla="*/ 612493 h 2253757"/>
                <a:gd name="connsiteX10" fmla="*/ 1241034 w 1494443"/>
                <a:gd name="connsiteY10" fmla="*/ 911472 h 2253757"/>
                <a:gd name="connsiteX11" fmla="*/ 1228936 w 1494443"/>
                <a:gd name="connsiteY11" fmla="*/ 600743 h 2253757"/>
                <a:gd name="connsiteX12" fmla="*/ 999131 w 1494443"/>
                <a:gd name="connsiteY12" fmla="*/ 558366 h 2253757"/>
                <a:gd name="connsiteX13" fmla="*/ 1029396 w 1494443"/>
                <a:gd name="connsiteY13" fmla="*/ 887580 h 2253757"/>
                <a:gd name="connsiteX14" fmla="*/ 978071 w 1494443"/>
                <a:gd name="connsiteY14" fmla="*/ 557324 h 2253757"/>
                <a:gd name="connsiteX15" fmla="*/ 783097 w 1494443"/>
                <a:gd name="connsiteY15" fmla="*/ 513030 h 2253757"/>
                <a:gd name="connsiteX16" fmla="*/ 786927 w 1494443"/>
                <a:gd name="connsiteY16" fmla="*/ 901237 h 2253757"/>
                <a:gd name="connsiteX17" fmla="*/ 755255 w 1494443"/>
                <a:gd name="connsiteY17" fmla="*/ 121917 h 2253757"/>
                <a:gd name="connsiteX18" fmla="*/ 558356 w 1494443"/>
                <a:gd name="connsiteY18" fmla="*/ 161731 h 2253757"/>
                <a:gd name="connsiteX19" fmla="*/ 535718 w 1494443"/>
                <a:gd name="connsiteY19" fmla="*/ 1183173 h 2253757"/>
                <a:gd name="connsiteX20" fmla="*/ 376753 w 1494443"/>
                <a:gd name="connsiteY20" fmla="*/ 1148565 h 2253757"/>
                <a:gd name="connsiteX21" fmla="*/ 436 w 1494443"/>
                <a:gd name="connsiteY21" fmla="*/ 886482 h 2253757"/>
                <a:gd name="connsiteX0" fmla="*/ 0 w 1494007"/>
                <a:gd name="connsiteY0" fmla="*/ 886482 h 2253757"/>
                <a:gd name="connsiteX1" fmla="*/ 212577 w 1494007"/>
                <a:gd name="connsiteY1" fmla="*/ 1296729 h 2253757"/>
                <a:gd name="connsiteX2" fmla="*/ 380827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240642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253757"/>
                <a:gd name="connsiteX1" fmla="*/ 202929 w 1494007"/>
                <a:gd name="connsiteY1" fmla="*/ 1320850 h 2253757"/>
                <a:gd name="connsiteX2" fmla="*/ 380827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240642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253757"/>
                <a:gd name="connsiteX1" fmla="*/ 202929 w 1494007"/>
                <a:gd name="connsiteY1" fmla="*/ 1320850 h 2253757"/>
                <a:gd name="connsiteX2" fmla="*/ 438719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240642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253757"/>
                <a:gd name="connsiteX1" fmla="*/ 202929 w 1494007"/>
                <a:gd name="connsiteY1" fmla="*/ 1320850 h 2253757"/>
                <a:gd name="connsiteX2" fmla="*/ 438719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240642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253757"/>
                <a:gd name="connsiteX1" fmla="*/ 202929 w 1494007"/>
                <a:gd name="connsiteY1" fmla="*/ 1320850 h 2253757"/>
                <a:gd name="connsiteX2" fmla="*/ 438719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240642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253757"/>
                <a:gd name="connsiteX1" fmla="*/ 202929 w 1494007"/>
                <a:gd name="connsiteY1" fmla="*/ 1320850 h 2253757"/>
                <a:gd name="connsiteX2" fmla="*/ 438719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240642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253757"/>
                <a:gd name="connsiteX1" fmla="*/ 202929 w 1494007"/>
                <a:gd name="connsiteY1" fmla="*/ 1320850 h 2253757"/>
                <a:gd name="connsiteX2" fmla="*/ 438719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240642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253757"/>
                <a:gd name="connsiteX1" fmla="*/ 202929 w 1494007"/>
                <a:gd name="connsiteY1" fmla="*/ 1320850 h 2253757"/>
                <a:gd name="connsiteX2" fmla="*/ 438719 w 1494007"/>
                <a:gd name="connsiteY2" fmla="*/ 1655174 h 2253757"/>
                <a:gd name="connsiteX3" fmla="*/ 620418 w 1494007"/>
                <a:gd name="connsiteY3" fmla="*/ 1879748 h 2253757"/>
                <a:gd name="connsiteX4" fmla="*/ 654015 w 1494007"/>
                <a:gd name="connsiteY4" fmla="*/ 2115210 h 2253757"/>
                <a:gd name="connsiteX5" fmla="*/ 1324672 w 1494007"/>
                <a:gd name="connsiteY5" fmla="*/ 2253757 h 2253757"/>
                <a:gd name="connsiteX6" fmla="*/ 1334105 w 1494007"/>
                <a:gd name="connsiteY6" fmla="*/ 1930484 h 2253757"/>
                <a:gd name="connsiteX7" fmla="*/ 1492737 w 1494007"/>
                <a:gd name="connsiteY7" fmla="*/ 1069958 h 2253757"/>
                <a:gd name="connsiteX8" fmla="*/ 1440769 w 1494007"/>
                <a:gd name="connsiteY8" fmla="*/ 644162 h 2253757"/>
                <a:gd name="connsiteX9" fmla="*/ 1248364 w 1494007"/>
                <a:gd name="connsiteY9" fmla="*/ 612493 h 2253757"/>
                <a:gd name="connsiteX10" fmla="*/ 1240598 w 1494007"/>
                <a:gd name="connsiteY10" fmla="*/ 911472 h 2253757"/>
                <a:gd name="connsiteX11" fmla="*/ 1228500 w 1494007"/>
                <a:gd name="connsiteY11" fmla="*/ 600743 h 2253757"/>
                <a:gd name="connsiteX12" fmla="*/ 998695 w 1494007"/>
                <a:gd name="connsiteY12" fmla="*/ 558366 h 2253757"/>
                <a:gd name="connsiteX13" fmla="*/ 1028960 w 1494007"/>
                <a:gd name="connsiteY13" fmla="*/ 887580 h 2253757"/>
                <a:gd name="connsiteX14" fmla="*/ 977635 w 1494007"/>
                <a:gd name="connsiteY14" fmla="*/ 557324 h 2253757"/>
                <a:gd name="connsiteX15" fmla="*/ 782661 w 1494007"/>
                <a:gd name="connsiteY15" fmla="*/ 513030 h 2253757"/>
                <a:gd name="connsiteX16" fmla="*/ 786491 w 1494007"/>
                <a:gd name="connsiteY16" fmla="*/ 901237 h 2253757"/>
                <a:gd name="connsiteX17" fmla="*/ 754819 w 1494007"/>
                <a:gd name="connsiteY17" fmla="*/ 121917 h 2253757"/>
                <a:gd name="connsiteX18" fmla="*/ 557920 w 1494007"/>
                <a:gd name="connsiteY18" fmla="*/ 161731 h 2253757"/>
                <a:gd name="connsiteX19" fmla="*/ 535282 w 1494007"/>
                <a:gd name="connsiteY19" fmla="*/ 1183173 h 2253757"/>
                <a:gd name="connsiteX20" fmla="*/ 376317 w 1494007"/>
                <a:gd name="connsiteY20" fmla="*/ 1148565 h 2253757"/>
                <a:gd name="connsiteX21" fmla="*/ 0 w 1494007"/>
                <a:gd name="connsiteY21" fmla="*/ 886482 h 2253757"/>
                <a:gd name="connsiteX0" fmla="*/ 0 w 1494007"/>
                <a:gd name="connsiteY0" fmla="*/ 886482 h 2147622"/>
                <a:gd name="connsiteX1" fmla="*/ 202929 w 1494007"/>
                <a:gd name="connsiteY1" fmla="*/ 1320850 h 2147622"/>
                <a:gd name="connsiteX2" fmla="*/ 438719 w 1494007"/>
                <a:gd name="connsiteY2" fmla="*/ 1655174 h 2147622"/>
                <a:gd name="connsiteX3" fmla="*/ 620418 w 1494007"/>
                <a:gd name="connsiteY3" fmla="*/ 1879748 h 2147622"/>
                <a:gd name="connsiteX4" fmla="*/ 654015 w 1494007"/>
                <a:gd name="connsiteY4" fmla="*/ 2115210 h 2147622"/>
                <a:gd name="connsiteX5" fmla="*/ 1339145 w 1494007"/>
                <a:gd name="connsiteY5" fmla="*/ 2147622 h 2147622"/>
                <a:gd name="connsiteX6" fmla="*/ 1334105 w 1494007"/>
                <a:gd name="connsiteY6" fmla="*/ 1930484 h 2147622"/>
                <a:gd name="connsiteX7" fmla="*/ 1492737 w 1494007"/>
                <a:gd name="connsiteY7" fmla="*/ 1069958 h 2147622"/>
                <a:gd name="connsiteX8" fmla="*/ 1440769 w 1494007"/>
                <a:gd name="connsiteY8" fmla="*/ 644162 h 2147622"/>
                <a:gd name="connsiteX9" fmla="*/ 1248364 w 1494007"/>
                <a:gd name="connsiteY9" fmla="*/ 612493 h 2147622"/>
                <a:gd name="connsiteX10" fmla="*/ 1240598 w 1494007"/>
                <a:gd name="connsiteY10" fmla="*/ 911472 h 2147622"/>
                <a:gd name="connsiteX11" fmla="*/ 1228500 w 1494007"/>
                <a:gd name="connsiteY11" fmla="*/ 600743 h 2147622"/>
                <a:gd name="connsiteX12" fmla="*/ 998695 w 1494007"/>
                <a:gd name="connsiteY12" fmla="*/ 558366 h 2147622"/>
                <a:gd name="connsiteX13" fmla="*/ 1028960 w 1494007"/>
                <a:gd name="connsiteY13" fmla="*/ 887580 h 2147622"/>
                <a:gd name="connsiteX14" fmla="*/ 977635 w 1494007"/>
                <a:gd name="connsiteY14" fmla="*/ 557324 h 2147622"/>
                <a:gd name="connsiteX15" fmla="*/ 782661 w 1494007"/>
                <a:gd name="connsiteY15" fmla="*/ 513030 h 2147622"/>
                <a:gd name="connsiteX16" fmla="*/ 786491 w 1494007"/>
                <a:gd name="connsiteY16" fmla="*/ 901237 h 2147622"/>
                <a:gd name="connsiteX17" fmla="*/ 754819 w 1494007"/>
                <a:gd name="connsiteY17" fmla="*/ 121917 h 2147622"/>
                <a:gd name="connsiteX18" fmla="*/ 557920 w 1494007"/>
                <a:gd name="connsiteY18" fmla="*/ 161731 h 2147622"/>
                <a:gd name="connsiteX19" fmla="*/ 535282 w 1494007"/>
                <a:gd name="connsiteY19" fmla="*/ 1183173 h 2147622"/>
                <a:gd name="connsiteX20" fmla="*/ 376317 w 1494007"/>
                <a:gd name="connsiteY20" fmla="*/ 1148565 h 2147622"/>
                <a:gd name="connsiteX21" fmla="*/ 0 w 1494007"/>
                <a:gd name="connsiteY21" fmla="*/ 886482 h 2147622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5282 w 1494007"/>
                <a:gd name="connsiteY19" fmla="*/ 1183173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5282 w 1494007"/>
                <a:gd name="connsiteY19" fmla="*/ 1183173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5282 w 1494007"/>
                <a:gd name="connsiteY19" fmla="*/ 1183173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5282 w 1494007"/>
                <a:gd name="connsiteY19" fmla="*/ 1183173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5282 w 1494007"/>
                <a:gd name="connsiteY19" fmla="*/ 1183173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01512 w 1494007"/>
                <a:gd name="connsiteY19" fmla="*/ 1192821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01512 w 1494007"/>
                <a:gd name="connsiteY19" fmla="*/ 1192821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01512 w 1494007"/>
                <a:gd name="connsiteY19" fmla="*/ 1192821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0458 w 1494007"/>
                <a:gd name="connsiteY19" fmla="*/ 1197645 h 2123500"/>
                <a:gd name="connsiteX20" fmla="*/ 376317 w 1494007"/>
                <a:gd name="connsiteY20" fmla="*/ 1148565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0458 w 1494007"/>
                <a:gd name="connsiteY19" fmla="*/ 1197645 h 2123500"/>
                <a:gd name="connsiteX20" fmla="*/ 395614 w 1494007"/>
                <a:gd name="connsiteY20" fmla="*/ 1153389 h 2123500"/>
                <a:gd name="connsiteX21" fmla="*/ 0 w 1494007"/>
                <a:gd name="connsiteY21" fmla="*/ 886482 h 2123500"/>
                <a:gd name="connsiteX0" fmla="*/ 0 w 1494007"/>
                <a:gd name="connsiteY0" fmla="*/ 886482 h 2123500"/>
                <a:gd name="connsiteX1" fmla="*/ 202929 w 1494007"/>
                <a:gd name="connsiteY1" fmla="*/ 1320850 h 2123500"/>
                <a:gd name="connsiteX2" fmla="*/ 438719 w 1494007"/>
                <a:gd name="connsiteY2" fmla="*/ 1655174 h 2123500"/>
                <a:gd name="connsiteX3" fmla="*/ 620418 w 1494007"/>
                <a:gd name="connsiteY3" fmla="*/ 1879748 h 2123500"/>
                <a:gd name="connsiteX4" fmla="*/ 654015 w 1494007"/>
                <a:gd name="connsiteY4" fmla="*/ 2115210 h 2123500"/>
                <a:gd name="connsiteX5" fmla="*/ 1334321 w 1494007"/>
                <a:gd name="connsiteY5" fmla="*/ 2123500 h 2123500"/>
                <a:gd name="connsiteX6" fmla="*/ 1334105 w 1494007"/>
                <a:gd name="connsiteY6" fmla="*/ 1930484 h 2123500"/>
                <a:gd name="connsiteX7" fmla="*/ 1492737 w 1494007"/>
                <a:gd name="connsiteY7" fmla="*/ 1069958 h 2123500"/>
                <a:gd name="connsiteX8" fmla="*/ 1440769 w 1494007"/>
                <a:gd name="connsiteY8" fmla="*/ 644162 h 2123500"/>
                <a:gd name="connsiteX9" fmla="*/ 1248364 w 1494007"/>
                <a:gd name="connsiteY9" fmla="*/ 612493 h 2123500"/>
                <a:gd name="connsiteX10" fmla="*/ 1240598 w 1494007"/>
                <a:gd name="connsiteY10" fmla="*/ 911472 h 2123500"/>
                <a:gd name="connsiteX11" fmla="*/ 1228500 w 1494007"/>
                <a:gd name="connsiteY11" fmla="*/ 600743 h 2123500"/>
                <a:gd name="connsiteX12" fmla="*/ 998695 w 1494007"/>
                <a:gd name="connsiteY12" fmla="*/ 558366 h 2123500"/>
                <a:gd name="connsiteX13" fmla="*/ 1028960 w 1494007"/>
                <a:gd name="connsiteY13" fmla="*/ 887580 h 2123500"/>
                <a:gd name="connsiteX14" fmla="*/ 977635 w 1494007"/>
                <a:gd name="connsiteY14" fmla="*/ 557324 h 2123500"/>
                <a:gd name="connsiteX15" fmla="*/ 782661 w 1494007"/>
                <a:gd name="connsiteY15" fmla="*/ 513030 h 2123500"/>
                <a:gd name="connsiteX16" fmla="*/ 786491 w 1494007"/>
                <a:gd name="connsiteY16" fmla="*/ 901237 h 2123500"/>
                <a:gd name="connsiteX17" fmla="*/ 754819 w 1494007"/>
                <a:gd name="connsiteY17" fmla="*/ 121917 h 2123500"/>
                <a:gd name="connsiteX18" fmla="*/ 557920 w 1494007"/>
                <a:gd name="connsiteY18" fmla="*/ 161731 h 2123500"/>
                <a:gd name="connsiteX19" fmla="*/ 530458 w 1494007"/>
                <a:gd name="connsiteY19" fmla="*/ 1197645 h 2123500"/>
                <a:gd name="connsiteX20" fmla="*/ 395614 w 1494007"/>
                <a:gd name="connsiteY20" fmla="*/ 1153389 h 2123500"/>
                <a:gd name="connsiteX21" fmla="*/ 0 w 1494007"/>
                <a:gd name="connsiteY21" fmla="*/ 886482 h 2123500"/>
                <a:gd name="connsiteX0" fmla="*/ 0 w 1518129"/>
                <a:gd name="connsiteY0" fmla="*/ 891306 h 2123500"/>
                <a:gd name="connsiteX1" fmla="*/ 227051 w 1518129"/>
                <a:gd name="connsiteY1" fmla="*/ 1320850 h 2123500"/>
                <a:gd name="connsiteX2" fmla="*/ 462841 w 1518129"/>
                <a:gd name="connsiteY2" fmla="*/ 1655174 h 2123500"/>
                <a:gd name="connsiteX3" fmla="*/ 644540 w 1518129"/>
                <a:gd name="connsiteY3" fmla="*/ 1879748 h 2123500"/>
                <a:gd name="connsiteX4" fmla="*/ 678137 w 1518129"/>
                <a:gd name="connsiteY4" fmla="*/ 2115210 h 2123500"/>
                <a:gd name="connsiteX5" fmla="*/ 1358443 w 1518129"/>
                <a:gd name="connsiteY5" fmla="*/ 2123500 h 2123500"/>
                <a:gd name="connsiteX6" fmla="*/ 1358227 w 1518129"/>
                <a:gd name="connsiteY6" fmla="*/ 1930484 h 2123500"/>
                <a:gd name="connsiteX7" fmla="*/ 1516859 w 1518129"/>
                <a:gd name="connsiteY7" fmla="*/ 1069958 h 2123500"/>
                <a:gd name="connsiteX8" fmla="*/ 1464891 w 1518129"/>
                <a:gd name="connsiteY8" fmla="*/ 644162 h 2123500"/>
                <a:gd name="connsiteX9" fmla="*/ 1272486 w 1518129"/>
                <a:gd name="connsiteY9" fmla="*/ 612493 h 2123500"/>
                <a:gd name="connsiteX10" fmla="*/ 1264720 w 1518129"/>
                <a:gd name="connsiteY10" fmla="*/ 911472 h 2123500"/>
                <a:gd name="connsiteX11" fmla="*/ 1252622 w 1518129"/>
                <a:gd name="connsiteY11" fmla="*/ 600743 h 2123500"/>
                <a:gd name="connsiteX12" fmla="*/ 1022817 w 1518129"/>
                <a:gd name="connsiteY12" fmla="*/ 558366 h 2123500"/>
                <a:gd name="connsiteX13" fmla="*/ 1053082 w 1518129"/>
                <a:gd name="connsiteY13" fmla="*/ 887580 h 2123500"/>
                <a:gd name="connsiteX14" fmla="*/ 1001757 w 1518129"/>
                <a:gd name="connsiteY14" fmla="*/ 557324 h 2123500"/>
                <a:gd name="connsiteX15" fmla="*/ 806783 w 1518129"/>
                <a:gd name="connsiteY15" fmla="*/ 513030 h 2123500"/>
                <a:gd name="connsiteX16" fmla="*/ 810613 w 1518129"/>
                <a:gd name="connsiteY16" fmla="*/ 901237 h 2123500"/>
                <a:gd name="connsiteX17" fmla="*/ 778941 w 1518129"/>
                <a:gd name="connsiteY17" fmla="*/ 121917 h 2123500"/>
                <a:gd name="connsiteX18" fmla="*/ 582042 w 1518129"/>
                <a:gd name="connsiteY18" fmla="*/ 161731 h 2123500"/>
                <a:gd name="connsiteX19" fmla="*/ 554580 w 1518129"/>
                <a:gd name="connsiteY19" fmla="*/ 1197645 h 2123500"/>
                <a:gd name="connsiteX20" fmla="*/ 419736 w 1518129"/>
                <a:gd name="connsiteY20" fmla="*/ 1153389 h 2123500"/>
                <a:gd name="connsiteX21" fmla="*/ 0 w 1518129"/>
                <a:gd name="connsiteY21" fmla="*/ 891306 h 2123500"/>
                <a:gd name="connsiteX0" fmla="*/ 0 w 1518129"/>
                <a:gd name="connsiteY0" fmla="*/ 891306 h 2123500"/>
                <a:gd name="connsiteX1" fmla="*/ 227051 w 1518129"/>
                <a:gd name="connsiteY1" fmla="*/ 1320850 h 2123500"/>
                <a:gd name="connsiteX2" fmla="*/ 462841 w 1518129"/>
                <a:gd name="connsiteY2" fmla="*/ 1655174 h 2123500"/>
                <a:gd name="connsiteX3" fmla="*/ 644540 w 1518129"/>
                <a:gd name="connsiteY3" fmla="*/ 1879748 h 2123500"/>
                <a:gd name="connsiteX4" fmla="*/ 678137 w 1518129"/>
                <a:gd name="connsiteY4" fmla="*/ 2115210 h 2123500"/>
                <a:gd name="connsiteX5" fmla="*/ 1358443 w 1518129"/>
                <a:gd name="connsiteY5" fmla="*/ 2123500 h 2123500"/>
                <a:gd name="connsiteX6" fmla="*/ 1358227 w 1518129"/>
                <a:gd name="connsiteY6" fmla="*/ 1930484 h 2123500"/>
                <a:gd name="connsiteX7" fmla="*/ 1516859 w 1518129"/>
                <a:gd name="connsiteY7" fmla="*/ 1069958 h 2123500"/>
                <a:gd name="connsiteX8" fmla="*/ 1464891 w 1518129"/>
                <a:gd name="connsiteY8" fmla="*/ 644162 h 2123500"/>
                <a:gd name="connsiteX9" fmla="*/ 1272486 w 1518129"/>
                <a:gd name="connsiteY9" fmla="*/ 612493 h 2123500"/>
                <a:gd name="connsiteX10" fmla="*/ 1264720 w 1518129"/>
                <a:gd name="connsiteY10" fmla="*/ 911472 h 2123500"/>
                <a:gd name="connsiteX11" fmla="*/ 1252622 w 1518129"/>
                <a:gd name="connsiteY11" fmla="*/ 600743 h 2123500"/>
                <a:gd name="connsiteX12" fmla="*/ 1022817 w 1518129"/>
                <a:gd name="connsiteY12" fmla="*/ 558366 h 2123500"/>
                <a:gd name="connsiteX13" fmla="*/ 1053082 w 1518129"/>
                <a:gd name="connsiteY13" fmla="*/ 887580 h 2123500"/>
                <a:gd name="connsiteX14" fmla="*/ 1001757 w 1518129"/>
                <a:gd name="connsiteY14" fmla="*/ 557324 h 2123500"/>
                <a:gd name="connsiteX15" fmla="*/ 806783 w 1518129"/>
                <a:gd name="connsiteY15" fmla="*/ 513030 h 2123500"/>
                <a:gd name="connsiteX16" fmla="*/ 810613 w 1518129"/>
                <a:gd name="connsiteY16" fmla="*/ 901237 h 2123500"/>
                <a:gd name="connsiteX17" fmla="*/ 778941 w 1518129"/>
                <a:gd name="connsiteY17" fmla="*/ 121917 h 2123500"/>
                <a:gd name="connsiteX18" fmla="*/ 582042 w 1518129"/>
                <a:gd name="connsiteY18" fmla="*/ 161731 h 2123500"/>
                <a:gd name="connsiteX19" fmla="*/ 554580 w 1518129"/>
                <a:gd name="connsiteY19" fmla="*/ 1197645 h 2123500"/>
                <a:gd name="connsiteX20" fmla="*/ 419736 w 1518129"/>
                <a:gd name="connsiteY20" fmla="*/ 1153389 h 2123500"/>
                <a:gd name="connsiteX21" fmla="*/ 0 w 1518129"/>
                <a:gd name="connsiteY21" fmla="*/ 891306 h 2123500"/>
                <a:gd name="connsiteX0" fmla="*/ 0 w 1518129"/>
                <a:gd name="connsiteY0" fmla="*/ 891306 h 2123500"/>
                <a:gd name="connsiteX1" fmla="*/ 227051 w 1518129"/>
                <a:gd name="connsiteY1" fmla="*/ 1320850 h 2123500"/>
                <a:gd name="connsiteX2" fmla="*/ 462841 w 1518129"/>
                <a:gd name="connsiteY2" fmla="*/ 1655174 h 2123500"/>
                <a:gd name="connsiteX3" fmla="*/ 644540 w 1518129"/>
                <a:gd name="connsiteY3" fmla="*/ 1879748 h 2123500"/>
                <a:gd name="connsiteX4" fmla="*/ 678137 w 1518129"/>
                <a:gd name="connsiteY4" fmla="*/ 2115210 h 2123500"/>
                <a:gd name="connsiteX5" fmla="*/ 1358443 w 1518129"/>
                <a:gd name="connsiteY5" fmla="*/ 2123500 h 2123500"/>
                <a:gd name="connsiteX6" fmla="*/ 1358227 w 1518129"/>
                <a:gd name="connsiteY6" fmla="*/ 1930484 h 2123500"/>
                <a:gd name="connsiteX7" fmla="*/ 1516859 w 1518129"/>
                <a:gd name="connsiteY7" fmla="*/ 1069958 h 2123500"/>
                <a:gd name="connsiteX8" fmla="*/ 1464891 w 1518129"/>
                <a:gd name="connsiteY8" fmla="*/ 644162 h 2123500"/>
                <a:gd name="connsiteX9" fmla="*/ 1272486 w 1518129"/>
                <a:gd name="connsiteY9" fmla="*/ 612493 h 2123500"/>
                <a:gd name="connsiteX10" fmla="*/ 1264720 w 1518129"/>
                <a:gd name="connsiteY10" fmla="*/ 911472 h 2123500"/>
                <a:gd name="connsiteX11" fmla="*/ 1252622 w 1518129"/>
                <a:gd name="connsiteY11" fmla="*/ 600743 h 2123500"/>
                <a:gd name="connsiteX12" fmla="*/ 1022817 w 1518129"/>
                <a:gd name="connsiteY12" fmla="*/ 558366 h 2123500"/>
                <a:gd name="connsiteX13" fmla="*/ 1053082 w 1518129"/>
                <a:gd name="connsiteY13" fmla="*/ 887580 h 2123500"/>
                <a:gd name="connsiteX14" fmla="*/ 1001757 w 1518129"/>
                <a:gd name="connsiteY14" fmla="*/ 557324 h 2123500"/>
                <a:gd name="connsiteX15" fmla="*/ 806783 w 1518129"/>
                <a:gd name="connsiteY15" fmla="*/ 513030 h 2123500"/>
                <a:gd name="connsiteX16" fmla="*/ 810613 w 1518129"/>
                <a:gd name="connsiteY16" fmla="*/ 901237 h 2123500"/>
                <a:gd name="connsiteX17" fmla="*/ 778941 w 1518129"/>
                <a:gd name="connsiteY17" fmla="*/ 121917 h 2123500"/>
                <a:gd name="connsiteX18" fmla="*/ 582042 w 1518129"/>
                <a:gd name="connsiteY18" fmla="*/ 161731 h 2123500"/>
                <a:gd name="connsiteX19" fmla="*/ 554580 w 1518129"/>
                <a:gd name="connsiteY19" fmla="*/ 1197645 h 2123500"/>
                <a:gd name="connsiteX20" fmla="*/ 419736 w 1518129"/>
                <a:gd name="connsiteY20" fmla="*/ 1153389 h 2123500"/>
                <a:gd name="connsiteX21" fmla="*/ 0 w 1518129"/>
                <a:gd name="connsiteY21" fmla="*/ 891306 h 2123500"/>
                <a:gd name="connsiteX0" fmla="*/ 0 w 1518129"/>
                <a:gd name="connsiteY0" fmla="*/ 891306 h 2123500"/>
                <a:gd name="connsiteX1" fmla="*/ 227051 w 1518129"/>
                <a:gd name="connsiteY1" fmla="*/ 1320850 h 2123500"/>
                <a:gd name="connsiteX2" fmla="*/ 462841 w 1518129"/>
                <a:gd name="connsiteY2" fmla="*/ 1655174 h 2123500"/>
                <a:gd name="connsiteX3" fmla="*/ 644540 w 1518129"/>
                <a:gd name="connsiteY3" fmla="*/ 1879748 h 2123500"/>
                <a:gd name="connsiteX4" fmla="*/ 678137 w 1518129"/>
                <a:gd name="connsiteY4" fmla="*/ 2115210 h 2123500"/>
                <a:gd name="connsiteX5" fmla="*/ 1358443 w 1518129"/>
                <a:gd name="connsiteY5" fmla="*/ 2123500 h 2123500"/>
                <a:gd name="connsiteX6" fmla="*/ 1358227 w 1518129"/>
                <a:gd name="connsiteY6" fmla="*/ 1930484 h 2123500"/>
                <a:gd name="connsiteX7" fmla="*/ 1516859 w 1518129"/>
                <a:gd name="connsiteY7" fmla="*/ 1069958 h 2123500"/>
                <a:gd name="connsiteX8" fmla="*/ 1464891 w 1518129"/>
                <a:gd name="connsiteY8" fmla="*/ 644162 h 2123500"/>
                <a:gd name="connsiteX9" fmla="*/ 1272486 w 1518129"/>
                <a:gd name="connsiteY9" fmla="*/ 612493 h 2123500"/>
                <a:gd name="connsiteX10" fmla="*/ 1264720 w 1518129"/>
                <a:gd name="connsiteY10" fmla="*/ 911472 h 2123500"/>
                <a:gd name="connsiteX11" fmla="*/ 1252622 w 1518129"/>
                <a:gd name="connsiteY11" fmla="*/ 600743 h 2123500"/>
                <a:gd name="connsiteX12" fmla="*/ 1022817 w 1518129"/>
                <a:gd name="connsiteY12" fmla="*/ 558366 h 2123500"/>
                <a:gd name="connsiteX13" fmla="*/ 1053082 w 1518129"/>
                <a:gd name="connsiteY13" fmla="*/ 887580 h 2123500"/>
                <a:gd name="connsiteX14" fmla="*/ 1001757 w 1518129"/>
                <a:gd name="connsiteY14" fmla="*/ 557324 h 2123500"/>
                <a:gd name="connsiteX15" fmla="*/ 806783 w 1518129"/>
                <a:gd name="connsiteY15" fmla="*/ 513030 h 2123500"/>
                <a:gd name="connsiteX16" fmla="*/ 810613 w 1518129"/>
                <a:gd name="connsiteY16" fmla="*/ 901237 h 2123500"/>
                <a:gd name="connsiteX17" fmla="*/ 778941 w 1518129"/>
                <a:gd name="connsiteY17" fmla="*/ 121917 h 2123500"/>
                <a:gd name="connsiteX18" fmla="*/ 582042 w 1518129"/>
                <a:gd name="connsiteY18" fmla="*/ 161731 h 2123500"/>
                <a:gd name="connsiteX19" fmla="*/ 554580 w 1518129"/>
                <a:gd name="connsiteY19" fmla="*/ 1197645 h 2123500"/>
                <a:gd name="connsiteX20" fmla="*/ 419736 w 1518129"/>
                <a:gd name="connsiteY20" fmla="*/ 1153389 h 2123500"/>
                <a:gd name="connsiteX21" fmla="*/ 0 w 1518129"/>
                <a:gd name="connsiteY21" fmla="*/ 891306 h 2123500"/>
                <a:gd name="connsiteX0" fmla="*/ 0 w 1518129"/>
                <a:gd name="connsiteY0" fmla="*/ 891306 h 2123500"/>
                <a:gd name="connsiteX1" fmla="*/ 227051 w 1518129"/>
                <a:gd name="connsiteY1" fmla="*/ 1320850 h 2123500"/>
                <a:gd name="connsiteX2" fmla="*/ 462841 w 1518129"/>
                <a:gd name="connsiteY2" fmla="*/ 1655174 h 2123500"/>
                <a:gd name="connsiteX3" fmla="*/ 644540 w 1518129"/>
                <a:gd name="connsiteY3" fmla="*/ 1879748 h 2123500"/>
                <a:gd name="connsiteX4" fmla="*/ 678137 w 1518129"/>
                <a:gd name="connsiteY4" fmla="*/ 2115210 h 2123500"/>
                <a:gd name="connsiteX5" fmla="*/ 1358443 w 1518129"/>
                <a:gd name="connsiteY5" fmla="*/ 2123500 h 2123500"/>
                <a:gd name="connsiteX6" fmla="*/ 1358227 w 1518129"/>
                <a:gd name="connsiteY6" fmla="*/ 1930484 h 2123500"/>
                <a:gd name="connsiteX7" fmla="*/ 1516859 w 1518129"/>
                <a:gd name="connsiteY7" fmla="*/ 1069958 h 2123500"/>
                <a:gd name="connsiteX8" fmla="*/ 1464891 w 1518129"/>
                <a:gd name="connsiteY8" fmla="*/ 644162 h 2123500"/>
                <a:gd name="connsiteX9" fmla="*/ 1272486 w 1518129"/>
                <a:gd name="connsiteY9" fmla="*/ 612493 h 2123500"/>
                <a:gd name="connsiteX10" fmla="*/ 1264720 w 1518129"/>
                <a:gd name="connsiteY10" fmla="*/ 911472 h 2123500"/>
                <a:gd name="connsiteX11" fmla="*/ 1252622 w 1518129"/>
                <a:gd name="connsiteY11" fmla="*/ 600743 h 2123500"/>
                <a:gd name="connsiteX12" fmla="*/ 1022817 w 1518129"/>
                <a:gd name="connsiteY12" fmla="*/ 558366 h 2123500"/>
                <a:gd name="connsiteX13" fmla="*/ 1053082 w 1518129"/>
                <a:gd name="connsiteY13" fmla="*/ 887580 h 2123500"/>
                <a:gd name="connsiteX14" fmla="*/ 1001757 w 1518129"/>
                <a:gd name="connsiteY14" fmla="*/ 557324 h 2123500"/>
                <a:gd name="connsiteX15" fmla="*/ 806783 w 1518129"/>
                <a:gd name="connsiteY15" fmla="*/ 513030 h 2123500"/>
                <a:gd name="connsiteX16" fmla="*/ 810613 w 1518129"/>
                <a:gd name="connsiteY16" fmla="*/ 901237 h 2123500"/>
                <a:gd name="connsiteX17" fmla="*/ 778941 w 1518129"/>
                <a:gd name="connsiteY17" fmla="*/ 121917 h 2123500"/>
                <a:gd name="connsiteX18" fmla="*/ 582042 w 1518129"/>
                <a:gd name="connsiteY18" fmla="*/ 161731 h 2123500"/>
                <a:gd name="connsiteX19" fmla="*/ 554580 w 1518129"/>
                <a:gd name="connsiteY19" fmla="*/ 1197645 h 2123500"/>
                <a:gd name="connsiteX20" fmla="*/ 419736 w 1518129"/>
                <a:gd name="connsiteY20" fmla="*/ 1153389 h 2123500"/>
                <a:gd name="connsiteX21" fmla="*/ 0 w 1518129"/>
                <a:gd name="connsiteY21" fmla="*/ 891306 h 2123500"/>
                <a:gd name="connsiteX0" fmla="*/ 0 w 1518129"/>
                <a:gd name="connsiteY0" fmla="*/ 891306 h 2133149"/>
                <a:gd name="connsiteX1" fmla="*/ 227051 w 1518129"/>
                <a:gd name="connsiteY1" fmla="*/ 1320850 h 2133149"/>
                <a:gd name="connsiteX2" fmla="*/ 462841 w 1518129"/>
                <a:gd name="connsiteY2" fmla="*/ 1655174 h 2133149"/>
                <a:gd name="connsiteX3" fmla="*/ 644540 w 1518129"/>
                <a:gd name="connsiteY3" fmla="*/ 1879748 h 2133149"/>
                <a:gd name="connsiteX4" fmla="*/ 678137 w 1518129"/>
                <a:gd name="connsiteY4" fmla="*/ 2115210 h 2133149"/>
                <a:gd name="connsiteX5" fmla="*/ 1348794 w 1518129"/>
                <a:gd name="connsiteY5" fmla="*/ 2133149 h 2133149"/>
                <a:gd name="connsiteX6" fmla="*/ 1358227 w 1518129"/>
                <a:gd name="connsiteY6" fmla="*/ 1930484 h 2133149"/>
                <a:gd name="connsiteX7" fmla="*/ 1516859 w 1518129"/>
                <a:gd name="connsiteY7" fmla="*/ 1069958 h 2133149"/>
                <a:gd name="connsiteX8" fmla="*/ 1464891 w 1518129"/>
                <a:gd name="connsiteY8" fmla="*/ 644162 h 2133149"/>
                <a:gd name="connsiteX9" fmla="*/ 1272486 w 1518129"/>
                <a:gd name="connsiteY9" fmla="*/ 612493 h 2133149"/>
                <a:gd name="connsiteX10" fmla="*/ 1264720 w 1518129"/>
                <a:gd name="connsiteY10" fmla="*/ 911472 h 2133149"/>
                <a:gd name="connsiteX11" fmla="*/ 1252622 w 1518129"/>
                <a:gd name="connsiteY11" fmla="*/ 600743 h 2133149"/>
                <a:gd name="connsiteX12" fmla="*/ 1022817 w 1518129"/>
                <a:gd name="connsiteY12" fmla="*/ 558366 h 2133149"/>
                <a:gd name="connsiteX13" fmla="*/ 1053082 w 1518129"/>
                <a:gd name="connsiteY13" fmla="*/ 887580 h 2133149"/>
                <a:gd name="connsiteX14" fmla="*/ 1001757 w 1518129"/>
                <a:gd name="connsiteY14" fmla="*/ 557324 h 2133149"/>
                <a:gd name="connsiteX15" fmla="*/ 806783 w 1518129"/>
                <a:gd name="connsiteY15" fmla="*/ 513030 h 2133149"/>
                <a:gd name="connsiteX16" fmla="*/ 810613 w 1518129"/>
                <a:gd name="connsiteY16" fmla="*/ 901237 h 2133149"/>
                <a:gd name="connsiteX17" fmla="*/ 778941 w 1518129"/>
                <a:gd name="connsiteY17" fmla="*/ 121917 h 2133149"/>
                <a:gd name="connsiteX18" fmla="*/ 582042 w 1518129"/>
                <a:gd name="connsiteY18" fmla="*/ 161731 h 2133149"/>
                <a:gd name="connsiteX19" fmla="*/ 554580 w 1518129"/>
                <a:gd name="connsiteY19" fmla="*/ 1197645 h 2133149"/>
                <a:gd name="connsiteX20" fmla="*/ 419736 w 1518129"/>
                <a:gd name="connsiteY20" fmla="*/ 1153389 h 2133149"/>
                <a:gd name="connsiteX21" fmla="*/ 0 w 1518129"/>
                <a:gd name="connsiteY21" fmla="*/ 891306 h 2133149"/>
                <a:gd name="connsiteX0" fmla="*/ 0 w 1518129"/>
                <a:gd name="connsiteY0" fmla="*/ 891306 h 2115210"/>
                <a:gd name="connsiteX1" fmla="*/ 227051 w 1518129"/>
                <a:gd name="connsiteY1" fmla="*/ 1320850 h 2115210"/>
                <a:gd name="connsiteX2" fmla="*/ 462841 w 1518129"/>
                <a:gd name="connsiteY2" fmla="*/ 1655174 h 2115210"/>
                <a:gd name="connsiteX3" fmla="*/ 644540 w 1518129"/>
                <a:gd name="connsiteY3" fmla="*/ 1879748 h 2115210"/>
                <a:gd name="connsiteX4" fmla="*/ 678137 w 1518129"/>
                <a:gd name="connsiteY4" fmla="*/ 2115210 h 2115210"/>
                <a:gd name="connsiteX5" fmla="*/ 1339145 w 1518129"/>
                <a:gd name="connsiteY5" fmla="*/ 2113852 h 2115210"/>
                <a:gd name="connsiteX6" fmla="*/ 1358227 w 1518129"/>
                <a:gd name="connsiteY6" fmla="*/ 1930484 h 2115210"/>
                <a:gd name="connsiteX7" fmla="*/ 1516859 w 1518129"/>
                <a:gd name="connsiteY7" fmla="*/ 1069958 h 2115210"/>
                <a:gd name="connsiteX8" fmla="*/ 1464891 w 1518129"/>
                <a:gd name="connsiteY8" fmla="*/ 644162 h 2115210"/>
                <a:gd name="connsiteX9" fmla="*/ 1272486 w 1518129"/>
                <a:gd name="connsiteY9" fmla="*/ 612493 h 2115210"/>
                <a:gd name="connsiteX10" fmla="*/ 1264720 w 1518129"/>
                <a:gd name="connsiteY10" fmla="*/ 911472 h 2115210"/>
                <a:gd name="connsiteX11" fmla="*/ 1252622 w 1518129"/>
                <a:gd name="connsiteY11" fmla="*/ 600743 h 2115210"/>
                <a:gd name="connsiteX12" fmla="*/ 1022817 w 1518129"/>
                <a:gd name="connsiteY12" fmla="*/ 558366 h 2115210"/>
                <a:gd name="connsiteX13" fmla="*/ 1053082 w 1518129"/>
                <a:gd name="connsiteY13" fmla="*/ 887580 h 2115210"/>
                <a:gd name="connsiteX14" fmla="*/ 1001757 w 1518129"/>
                <a:gd name="connsiteY14" fmla="*/ 557324 h 2115210"/>
                <a:gd name="connsiteX15" fmla="*/ 806783 w 1518129"/>
                <a:gd name="connsiteY15" fmla="*/ 513030 h 2115210"/>
                <a:gd name="connsiteX16" fmla="*/ 810613 w 1518129"/>
                <a:gd name="connsiteY16" fmla="*/ 901237 h 2115210"/>
                <a:gd name="connsiteX17" fmla="*/ 778941 w 1518129"/>
                <a:gd name="connsiteY17" fmla="*/ 121917 h 2115210"/>
                <a:gd name="connsiteX18" fmla="*/ 582042 w 1518129"/>
                <a:gd name="connsiteY18" fmla="*/ 161731 h 2115210"/>
                <a:gd name="connsiteX19" fmla="*/ 554580 w 1518129"/>
                <a:gd name="connsiteY19" fmla="*/ 1197645 h 2115210"/>
                <a:gd name="connsiteX20" fmla="*/ 419736 w 1518129"/>
                <a:gd name="connsiteY20" fmla="*/ 1153389 h 2115210"/>
                <a:gd name="connsiteX21" fmla="*/ 0 w 1518129"/>
                <a:gd name="connsiteY21" fmla="*/ 891306 h 2115210"/>
                <a:gd name="connsiteX0" fmla="*/ 0 w 1518129"/>
                <a:gd name="connsiteY0" fmla="*/ 891306 h 2174861"/>
                <a:gd name="connsiteX1" fmla="*/ 227051 w 1518129"/>
                <a:gd name="connsiteY1" fmla="*/ 1320850 h 2174861"/>
                <a:gd name="connsiteX2" fmla="*/ 462841 w 1518129"/>
                <a:gd name="connsiteY2" fmla="*/ 1655174 h 2174861"/>
                <a:gd name="connsiteX3" fmla="*/ 644540 w 1518129"/>
                <a:gd name="connsiteY3" fmla="*/ 1879748 h 2174861"/>
                <a:gd name="connsiteX4" fmla="*/ 678137 w 1518129"/>
                <a:gd name="connsiteY4" fmla="*/ 2115210 h 2174861"/>
                <a:gd name="connsiteX5" fmla="*/ 1339145 w 1518129"/>
                <a:gd name="connsiteY5" fmla="*/ 2174859 h 2174861"/>
                <a:gd name="connsiteX6" fmla="*/ 1358227 w 1518129"/>
                <a:gd name="connsiteY6" fmla="*/ 1930484 h 2174861"/>
                <a:gd name="connsiteX7" fmla="*/ 1516859 w 1518129"/>
                <a:gd name="connsiteY7" fmla="*/ 1069958 h 2174861"/>
                <a:gd name="connsiteX8" fmla="*/ 1464891 w 1518129"/>
                <a:gd name="connsiteY8" fmla="*/ 644162 h 2174861"/>
                <a:gd name="connsiteX9" fmla="*/ 1272486 w 1518129"/>
                <a:gd name="connsiteY9" fmla="*/ 612493 h 2174861"/>
                <a:gd name="connsiteX10" fmla="*/ 1264720 w 1518129"/>
                <a:gd name="connsiteY10" fmla="*/ 911472 h 2174861"/>
                <a:gd name="connsiteX11" fmla="*/ 1252622 w 1518129"/>
                <a:gd name="connsiteY11" fmla="*/ 600743 h 2174861"/>
                <a:gd name="connsiteX12" fmla="*/ 1022817 w 1518129"/>
                <a:gd name="connsiteY12" fmla="*/ 558366 h 2174861"/>
                <a:gd name="connsiteX13" fmla="*/ 1053082 w 1518129"/>
                <a:gd name="connsiteY13" fmla="*/ 887580 h 2174861"/>
                <a:gd name="connsiteX14" fmla="*/ 1001757 w 1518129"/>
                <a:gd name="connsiteY14" fmla="*/ 557324 h 2174861"/>
                <a:gd name="connsiteX15" fmla="*/ 806783 w 1518129"/>
                <a:gd name="connsiteY15" fmla="*/ 513030 h 2174861"/>
                <a:gd name="connsiteX16" fmla="*/ 810613 w 1518129"/>
                <a:gd name="connsiteY16" fmla="*/ 901237 h 2174861"/>
                <a:gd name="connsiteX17" fmla="*/ 778941 w 1518129"/>
                <a:gd name="connsiteY17" fmla="*/ 121917 h 2174861"/>
                <a:gd name="connsiteX18" fmla="*/ 582042 w 1518129"/>
                <a:gd name="connsiteY18" fmla="*/ 161731 h 2174861"/>
                <a:gd name="connsiteX19" fmla="*/ 554580 w 1518129"/>
                <a:gd name="connsiteY19" fmla="*/ 1197645 h 2174861"/>
                <a:gd name="connsiteX20" fmla="*/ 419736 w 1518129"/>
                <a:gd name="connsiteY20" fmla="*/ 1153389 h 2174861"/>
                <a:gd name="connsiteX21" fmla="*/ 0 w 1518129"/>
                <a:gd name="connsiteY21" fmla="*/ 891306 h 2174861"/>
                <a:gd name="connsiteX0" fmla="*/ 0 w 1518129"/>
                <a:gd name="connsiteY0" fmla="*/ 891306 h 2116848"/>
                <a:gd name="connsiteX1" fmla="*/ 227051 w 1518129"/>
                <a:gd name="connsiteY1" fmla="*/ 1320850 h 2116848"/>
                <a:gd name="connsiteX2" fmla="*/ 462841 w 1518129"/>
                <a:gd name="connsiteY2" fmla="*/ 1655174 h 2116848"/>
                <a:gd name="connsiteX3" fmla="*/ 644540 w 1518129"/>
                <a:gd name="connsiteY3" fmla="*/ 1879748 h 2116848"/>
                <a:gd name="connsiteX4" fmla="*/ 678137 w 1518129"/>
                <a:gd name="connsiteY4" fmla="*/ 2115210 h 2116848"/>
                <a:gd name="connsiteX5" fmla="*/ 1358227 w 1518129"/>
                <a:gd name="connsiteY5" fmla="*/ 1930484 h 2116848"/>
                <a:gd name="connsiteX6" fmla="*/ 1516859 w 1518129"/>
                <a:gd name="connsiteY6" fmla="*/ 1069958 h 2116848"/>
                <a:gd name="connsiteX7" fmla="*/ 1464891 w 1518129"/>
                <a:gd name="connsiteY7" fmla="*/ 644162 h 2116848"/>
                <a:gd name="connsiteX8" fmla="*/ 1272486 w 1518129"/>
                <a:gd name="connsiteY8" fmla="*/ 612493 h 2116848"/>
                <a:gd name="connsiteX9" fmla="*/ 1264720 w 1518129"/>
                <a:gd name="connsiteY9" fmla="*/ 911472 h 2116848"/>
                <a:gd name="connsiteX10" fmla="*/ 1252622 w 1518129"/>
                <a:gd name="connsiteY10" fmla="*/ 600743 h 2116848"/>
                <a:gd name="connsiteX11" fmla="*/ 1022817 w 1518129"/>
                <a:gd name="connsiteY11" fmla="*/ 558366 h 2116848"/>
                <a:gd name="connsiteX12" fmla="*/ 1053082 w 1518129"/>
                <a:gd name="connsiteY12" fmla="*/ 887580 h 2116848"/>
                <a:gd name="connsiteX13" fmla="*/ 1001757 w 1518129"/>
                <a:gd name="connsiteY13" fmla="*/ 557324 h 2116848"/>
                <a:gd name="connsiteX14" fmla="*/ 806783 w 1518129"/>
                <a:gd name="connsiteY14" fmla="*/ 513030 h 2116848"/>
                <a:gd name="connsiteX15" fmla="*/ 810613 w 1518129"/>
                <a:gd name="connsiteY15" fmla="*/ 901237 h 2116848"/>
                <a:gd name="connsiteX16" fmla="*/ 778941 w 1518129"/>
                <a:gd name="connsiteY16" fmla="*/ 121917 h 2116848"/>
                <a:gd name="connsiteX17" fmla="*/ 582042 w 1518129"/>
                <a:gd name="connsiteY17" fmla="*/ 161731 h 2116848"/>
                <a:gd name="connsiteX18" fmla="*/ 554580 w 1518129"/>
                <a:gd name="connsiteY18" fmla="*/ 1197645 h 2116848"/>
                <a:gd name="connsiteX19" fmla="*/ 419736 w 1518129"/>
                <a:gd name="connsiteY19" fmla="*/ 1153389 h 2116848"/>
                <a:gd name="connsiteX20" fmla="*/ 0 w 1518129"/>
                <a:gd name="connsiteY20" fmla="*/ 891306 h 2116848"/>
                <a:gd name="connsiteX0" fmla="*/ 0 w 1518129"/>
                <a:gd name="connsiteY0" fmla="*/ 891306 h 1987766"/>
                <a:gd name="connsiteX1" fmla="*/ 227051 w 1518129"/>
                <a:gd name="connsiteY1" fmla="*/ 1320850 h 1987766"/>
                <a:gd name="connsiteX2" fmla="*/ 462841 w 1518129"/>
                <a:gd name="connsiteY2" fmla="*/ 1655174 h 1987766"/>
                <a:gd name="connsiteX3" fmla="*/ 644540 w 1518129"/>
                <a:gd name="connsiteY3" fmla="*/ 1879748 h 1987766"/>
                <a:gd name="connsiteX4" fmla="*/ 1358227 w 1518129"/>
                <a:gd name="connsiteY4" fmla="*/ 1930484 h 1987766"/>
                <a:gd name="connsiteX5" fmla="*/ 1516859 w 1518129"/>
                <a:gd name="connsiteY5" fmla="*/ 1069958 h 1987766"/>
                <a:gd name="connsiteX6" fmla="*/ 1464891 w 1518129"/>
                <a:gd name="connsiteY6" fmla="*/ 644162 h 1987766"/>
                <a:gd name="connsiteX7" fmla="*/ 1272486 w 1518129"/>
                <a:gd name="connsiteY7" fmla="*/ 612493 h 1987766"/>
                <a:gd name="connsiteX8" fmla="*/ 1264720 w 1518129"/>
                <a:gd name="connsiteY8" fmla="*/ 911472 h 1987766"/>
                <a:gd name="connsiteX9" fmla="*/ 1252622 w 1518129"/>
                <a:gd name="connsiteY9" fmla="*/ 600743 h 1987766"/>
                <a:gd name="connsiteX10" fmla="*/ 1022817 w 1518129"/>
                <a:gd name="connsiteY10" fmla="*/ 558366 h 1987766"/>
                <a:gd name="connsiteX11" fmla="*/ 1053082 w 1518129"/>
                <a:gd name="connsiteY11" fmla="*/ 887580 h 1987766"/>
                <a:gd name="connsiteX12" fmla="*/ 1001757 w 1518129"/>
                <a:gd name="connsiteY12" fmla="*/ 557324 h 1987766"/>
                <a:gd name="connsiteX13" fmla="*/ 806783 w 1518129"/>
                <a:gd name="connsiteY13" fmla="*/ 513030 h 1987766"/>
                <a:gd name="connsiteX14" fmla="*/ 810613 w 1518129"/>
                <a:gd name="connsiteY14" fmla="*/ 901237 h 1987766"/>
                <a:gd name="connsiteX15" fmla="*/ 778941 w 1518129"/>
                <a:gd name="connsiteY15" fmla="*/ 121917 h 1987766"/>
                <a:gd name="connsiteX16" fmla="*/ 582042 w 1518129"/>
                <a:gd name="connsiteY16" fmla="*/ 161731 h 1987766"/>
                <a:gd name="connsiteX17" fmla="*/ 554580 w 1518129"/>
                <a:gd name="connsiteY17" fmla="*/ 1197645 h 1987766"/>
                <a:gd name="connsiteX18" fmla="*/ 419736 w 1518129"/>
                <a:gd name="connsiteY18" fmla="*/ 1153389 h 1987766"/>
                <a:gd name="connsiteX19" fmla="*/ 0 w 1518129"/>
                <a:gd name="connsiteY19" fmla="*/ 891306 h 1987766"/>
                <a:gd name="connsiteX0" fmla="*/ 0 w 1518129"/>
                <a:gd name="connsiteY0" fmla="*/ 891306 h 1934599"/>
                <a:gd name="connsiteX1" fmla="*/ 227051 w 1518129"/>
                <a:gd name="connsiteY1" fmla="*/ 1320850 h 1934599"/>
                <a:gd name="connsiteX2" fmla="*/ 462841 w 1518129"/>
                <a:gd name="connsiteY2" fmla="*/ 1655174 h 1934599"/>
                <a:gd name="connsiteX3" fmla="*/ 644540 w 1518129"/>
                <a:gd name="connsiteY3" fmla="*/ 1879748 h 1934599"/>
                <a:gd name="connsiteX4" fmla="*/ 1358227 w 1518129"/>
                <a:gd name="connsiteY4" fmla="*/ 1930484 h 1934599"/>
                <a:gd name="connsiteX5" fmla="*/ 1516859 w 1518129"/>
                <a:gd name="connsiteY5" fmla="*/ 1069958 h 1934599"/>
                <a:gd name="connsiteX6" fmla="*/ 1464891 w 1518129"/>
                <a:gd name="connsiteY6" fmla="*/ 644162 h 1934599"/>
                <a:gd name="connsiteX7" fmla="*/ 1272486 w 1518129"/>
                <a:gd name="connsiteY7" fmla="*/ 612493 h 1934599"/>
                <a:gd name="connsiteX8" fmla="*/ 1264720 w 1518129"/>
                <a:gd name="connsiteY8" fmla="*/ 911472 h 1934599"/>
                <a:gd name="connsiteX9" fmla="*/ 1252622 w 1518129"/>
                <a:gd name="connsiteY9" fmla="*/ 600743 h 1934599"/>
                <a:gd name="connsiteX10" fmla="*/ 1022817 w 1518129"/>
                <a:gd name="connsiteY10" fmla="*/ 558366 h 1934599"/>
                <a:gd name="connsiteX11" fmla="*/ 1053082 w 1518129"/>
                <a:gd name="connsiteY11" fmla="*/ 887580 h 1934599"/>
                <a:gd name="connsiteX12" fmla="*/ 1001757 w 1518129"/>
                <a:gd name="connsiteY12" fmla="*/ 557324 h 1934599"/>
                <a:gd name="connsiteX13" fmla="*/ 806783 w 1518129"/>
                <a:gd name="connsiteY13" fmla="*/ 513030 h 1934599"/>
                <a:gd name="connsiteX14" fmla="*/ 810613 w 1518129"/>
                <a:gd name="connsiteY14" fmla="*/ 901237 h 1934599"/>
                <a:gd name="connsiteX15" fmla="*/ 778941 w 1518129"/>
                <a:gd name="connsiteY15" fmla="*/ 121917 h 1934599"/>
                <a:gd name="connsiteX16" fmla="*/ 582042 w 1518129"/>
                <a:gd name="connsiteY16" fmla="*/ 161731 h 1934599"/>
                <a:gd name="connsiteX17" fmla="*/ 554580 w 1518129"/>
                <a:gd name="connsiteY17" fmla="*/ 1197645 h 1934599"/>
                <a:gd name="connsiteX18" fmla="*/ 419736 w 1518129"/>
                <a:gd name="connsiteY18" fmla="*/ 1153389 h 1934599"/>
                <a:gd name="connsiteX19" fmla="*/ 0 w 1518129"/>
                <a:gd name="connsiteY19" fmla="*/ 891306 h 1934599"/>
                <a:gd name="connsiteX0" fmla="*/ 0 w 1518129"/>
                <a:gd name="connsiteY0" fmla="*/ 891306 h 1914832"/>
                <a:gd name="connsiteX1" fmla="*/ 227051 w 1518129"/>
                <a:gd name="connsiteY1" fmla="*/ 1320850 h 1914832"/>
                <a:gd name="connsiteX2" fmla="*/ 462841 w 1518129"/>
                <a:gd name="connsiteY2" fmla="*/ 1655174 h 1914832"/>
                <a:gd name="connsiteX3" fmla="*/ 644540 w 1518129"/>
                <a:gd name="connsiteY3" fmla="*/ 1879748 h 1914832"/>
                <a:gd name="connsiteX4" fmla="*/ 1366786 w 1518129"/>
                <a:gd name="connsiteY4" fmla="*/ 1904807 h 1914832"/>
                <a:gd name="connsiteX5" fmla="*/ 1516859 w 1518129"/>
                <a:gd name="connsiteY5" fmla="*/ 1069958 h 1914832"/>
                <a:gd name="connsiteX6" fmla="*/ 1464891 w 1518129"/>
                <a:gd name="connsiteY6" fmla="*/ 644162 h 1914832"/>
                <a:gd name="connsiteX7" fmla="*/ 1272486 w 1518129"/>
                <a:gd name="connsiteY7" fmla="*/ 612493 h 1914832"/>
                <a:gd name="connsiteX8" fmla="*/ 1264720 w 1518129"/>
                <a:gd name="connsiteY8" fmla="*/ 911472 h 1914832"/>
                <a:gd name="connsiteX9" fmla="*/ 1252622 w 1518129"/>
                <a:gd name="connsiteY9" fmla="*/ 600743 h 1914832"/>
                <a:gd name="connsiteX10" fmla="*/ 1022817 w 1518129"/>
                <a:gd name="connsiteY10" fmla="*/ 558366 h 1914832"/>
                <a:gd name="connsiteX11" fmla="*/ 1053082 w 1518129"/>
                <a:gd name="connsiteY11" fmla="*/ 887580 h 1914832"/>
                <a:gd name="connsiteX12" fmla="*/ 1001757 w 1518129"/>
                <a:gd name="connsiteY12" fmla="*/ 557324 h 1914832"/>
                <a:gd name="connsiteX13" fmla="*/ 806783 w 1518129"/>
                <a:gd name="connsiteY13" fmla="*/ 513030 h 1914832"/>
                <a:gd name="connsiteX14" fmla="*/ 810613 w 1518129"/>
                <a:gd name="connsiteY14" fmla="*/ 901237 h 1914832"/>
                <a:gd name="connsiteX15" fmla="*/ 778941 w 1518129"/>
                <a:gd name="connsiteY15" fmla="*/ 121917 h 1914832"/>
                <a:gd name="connsiteX16" fmla="*/ 582042 w 1518129"/>
                <a:gd name="connsiteY16" fmla="*/ 161731 h 1914832"/>
                <a:gd name="connsiteX17" fmla="*/ 554580 w 1518129"/>
                <a:gd name="connsiteY17" fmla="*/ 1197645 h 1914832"/>
                <a:gd name="connsiteX18" fmla="*/ 419736 w 1518129"/>
                <a:gd name="connsiteY18" fmla="*/ 1153389 h 1914832"/>
                <a:gd name="connsiteX19" fmla="*/ 0 w 1518129"/>
                <a:gd name="connsiteY19" fmla="*/ 891306 h 1914832"/>
                <a:gd name="connsiteX0" fmla="*/ 0 w 1518129"/>
                <a:gd name="connsiteY0" fmla="*/ 891306 h 1910129"/>
                <a:gd name="connsiteX1" fmla="*/ 227051 w 1518129"/>
                <a:gd name="connsiteY1" fmla="*/ 1320850 h 1910129"/>
                <a:gd name="connsiteX2" fmla="*/ 462841 w 1518129"/>
                <a:gd name="connsiteY2" fmla="*/ 1655174 h 1910129"/>
                <a:gd name="connsiteX3" fmla="*/ 644540 w 1518129"/>
                <a:gd name="connsiteY3" fmla="*/ 1879748 h 1910129"/>
                <a:gd name="connsiteX4" fmla="*/ 1366786 w 1518129"/>
                <a:gd name="connsiteY4" fmla="*/ 1904807 h 1910129"/>
                <a:gd name="connsiteX5" fmla="*/ 1516859 w 1518129"/>
                <a:gd name="connsiteY5" fmla="*/ 1069958 h 1910129"/>
                <a:gd name="connsiteX6" fmla="*/ 1464891 w 1518129"/>
                <a:gd name="connsiteY6" fmla="*/ 644162 h 1910129"/>
                <a:gd name="connsiteX7" fmla="*/ 1272486 w 1518129"/>
                <a:gd name="connsiteY7" fmla="*/ 612493 h 1910129"/>
                <a:gd name="connsiteX8" fmla="*/ 1264720 w 1518129"/>
                <a:gd name="connsiteY8" fmla="*/ 911472 h 1910129"/>
                <a:gd name="connsiteX9" fmla="*/ 1252622 w 1518129"/>
                <a:gd name="connsiteY9" fmla="*/ 600743 h 1910129"/>
                <a:gd name="connsiteX10" fmla="*/ 1022817 w 1518129"/>
                <a:gd name="connsiteY10" fmla="*/ 558366 h 1910129"/>
                <a:gd name="connsiteX11" fmla="*/ 1053082 w 1518129"/>
                <a:gd name="connsiteY11" fmla="*/ 887580 h 1910129"/>
                <a:gd name="connsiteX12" fmla="*/ 1001757 w 1518129"/>
                <a:gd name="connsiteY12" fmla="*/ 557324 h 1910129"/>
                <a:gd name="connsiteX13" fmla="*/ 806783 w 1518129"/>
                <a:gd name="connsiteY13" fmla="*/ 513030 h 1910129"/>
                <a:gd name="connsiteX14" fmla="*/ 810613 w 1518129"/>
                <a:gd name="connsiteY14" fmla="*/ 901237 h 1910129"/>
                <a:gd name="connsiteX15" fmla="*/ 778941 w 1518129"/>
                <a:gd name="connsiteY15" fmla="*/ 121917 h 1910129"/>
                <a:gd name="connsiteX16" fmla="*/ 582042 w 1518129"/>
                <a:gd name="connsiteY16" fmla="*/ 161731 h 1910129"/>
                <a:gd name="connsiteX17" fmla="*/ 554580 w 1518129"/>
                <a:gd name="connsiteY17" fmla="*/ 1197645 h 1910129"/>
                <a:gd name="connsiteX18" fmla="*/ 419736 w 1518129"/>
                <a:gd name="connsiteY18" fmla="*/ 1153389 h 1910129"/>
                <a:gd name="connsiteX19" fmla="*/ 0 w 1518129"/>
                <a:gd name="connsiteY19" fmla="*/ 891306 h 1910129"/>
                <a:gd name="connsiteX0" fmla="*/ 0 w 1518129"/>
                <a:gd name="connsiteY0" fmla="*/ 891306 h 1907268"/>
                <a:gd name="connsiteX1" fmla="*/ 227051 w 1518129"/>
                <a:gd name="connsiteY1" fmla="*/ 1320850 h 1907268"/>
                <a:gd name="connsiteX2" fmla="*/ 462841 w 1518129"/>
                <a:gd name="connsiteY2" fmla="*/ 1655174 h 1907268"/>
                <a:gd name="connsiteX3" fmla="*/ 644540 w 1518129"/>
                <a:gd name="connsiteY3" fmla="*/ 1879748 h 1907268"/>
                <a:gd name="connsiteX4" fmla="*/ 1366786 w 1518129"/>
                <a:gd name="connsiteY4" fmla="*/ 1899100 h 1907268"/>
                <a:gd name="connsiteX5" fmla="*/ 1516859 w 1518129"/>
                <a:gd name="connsiteY5" fmla="*/ 1069958 h 1907268"/>
                <a:gd name="connsiteX6" fmla="*/ 1464891 w 1518129"/>
                <a:gd name="connsiteY6" fmla="*/ 644162 h 1907268"/>
                <a:gd name="connsiteX7" fmla="*/ 1272486 w 1518129"/>
                <a:gd name="connsiteY7" fmla="*/ 612493 h 1907268"/>
                <a:gd name="connsiteX8" fmla="*/ 1264720 w 1518129"/>
                <a:gd name="connsiteY8" fmla="*/ 911472 h 1907268"/>
                <a:gd name="connsiteX9" fmla="*/ 1252622 w 1518129"/>
                <a:gd name="connsiteY9" fmla="*/ 600743 h 1907268"/>
                <a:gd name="connsiteX10" fmla="*/ 1022817 w 1518129"/>
                <a:gd name="connsiteY10" fmla="*/ 558366 h 1907268"/>
                <a:gd name="connsiteX11" fmla="*/ 1053082 w 1518129"/>
                <a:gd name="connsiteY11" fmla="*/ 887580 h 1907268"/>
                <a:gd name="connsiteX12" fmla="*/ 1001757 w 1518129"/>
                <a:gd name="connsiteY12" fmla="*/ 557324 h 1907268"/>
                <a:gd name="connsiteX13" fmla="*/ 806783 w 1518129"/>
                <a:gd name="connsiteY13" fmla="*/ 513030 h 1907268"/>
                <a:gd name="connsiteX14" fmla="*/ 810613 w 1518129"/>
                <a:gd name="connsiteY14" fmla="*/ 901237 h 1907268"/>
                <a:gd name="connsiteX15" fmla="*/ 778941 w 1518129"/>
                <a:gd name="connsiteY15" fmla="*/ 121917 h 1907268"/>
                <a:gd name="connsiteX16" fmla="*/ 582042 w 1518129"/>
                <a:gd name="connsiteY16" fmla="*/ 161731 h 1907268"/>
                <a:gd name="connsiteX17" fmla="*/ 554580 w 1518129"/>
                <a:gd name="connsiteY17" fmla="*/ 1197645 h 1907268"/>
                <a:gd name="connsiteX18" fmla="*/ 419736 w 1518129"/>
                <a:gd name="connsiteY18" fmla="*/ 1153389 h 1907268"/>
                <a:gd name="connsiteX19" fmla="*/ 0 w 1518129"/>
                <a:gd name="connsiteY19" fmla="*/ 891306 h 1907268"/>
                <a:gd name="connsiteX0" fmla="*/ 0 w 1518129"/>
                <a:gd name="connsiteY0" fmla="*/ 891306 h 1907268"/>
                <a:gd name="connsiteX1" fmla="*/ 227051 w 1518129"/>
                <a:gd name="connsiteY1" fmla="*/ 1320850 h 1907268"/>
                <a:gd name="connsiteX2" fmla="*/ 462841 w 1518129"/>
                <a:gd name="connsiteY2" fmla="*/ 1655174 h 1907268"/>
                <a:gd name="connsiteX3" fmla="*/ 644540 w 1518129"/>
                <a:gd name="connsiteY3" fmla="*/ 1879748 h 1907268"/>
                <a:gd name="connsiteX4" fmla="*/ 1366786 w 1518129"/>
                <a:gd name="connsiteY4" fmla="*/ 1899100 h 1907268"/>
                <a:gd name="connsiteX5" fmla="*/ 1516859 w 1518129"/>
                <a:gd name="connsiteY5" fmla="*/ 1069958 h 1907268"/>
                <a:gd name="connsiteX6" fmla="*/ 1464891 w 1518129"/>
                <a:gd name="connsiteY6" fmla="*/ 644162 h 1907268"/>
                <a:gd name="connsiteX7" fmla="*/ 1272486 w 1518129"/>
                <a:gd name="connsiteY7" fmla="*/ 612493 h 1907268"/>
                <a:gd name="connsiteX8" fmla="*/ 1264720 w 1518129"/>
                <a:gd name="connsiteY8" fmla="*/ 911472 h 1907268"/>
                <a:gd name="connsiteX9" fmla="*/ 1252622 w 1518129"/>
                <a:gd name="connsiteY9" fmla="*/ 600743 h 1907268"/>
                <a:gd name="connsiteX10" fmla="*/ 1022817 w 1518129"/>
                <a:gd name="connsiteY10" fmla="*/ 558366 h 1907268"/>
                <a:gd name="connsiteX11" fmla="*/ 1053082 w 1518129"/>
                <a:gd name="connsiteY11" fmla="*/ 887580 h 1907268"/>
                <a:gd name="connsiteX12" fmla="*/ 1001757 w 1518129"/>
                <a:gd name="connsiteY12" fmla="*/ 557324 h 1907268"/>
                <a:gd name="connsiteX13" fmla="*/ 806783 w 1518129"/>
                <a:gd name="connsiteY13" fmla="*/ 513030 h 1907268"/>
                <a:gd name="connsiteX14" fmla="*/ 810613 w 1518129"/>
                <a:gd name="connsiteY14" fmla="*/ 901237 h 1907268"/>
                <a:gd name="connsiteX15" fmla="*/ 778941 w 1518129"/>
                <a:gd name="connsiteY15" fmla="*/ 121917 h 1907268"/>
                <a:gd name="connsiteX16" fmla="*/ 582042 w 1518129"/>
                <a:gd name="connsiteY16" fmla="*/ 161731 h 1907268"/>
                <a:gd name="connsiteX17" fmla="*/ 554580 w 1518129"/>
                <a:gd name="connsiteY17" fmla="*/ 1197645 h 1907268"/>
                <a:gd name="connsiteX18" fmla="*/ 419736 w 1518129"/>
                <a:gd name="connsiteY18" fmla="*/ 1153389 h 1907268"/>
                <a:gd name="connsiteX19" fmla="*/ 0 w 1518129"/>
                <a:gd name="connsiteY19" fmla="*/ 891306 h 1907268"/>
                <a:gd name="connsiteX0" fmla="*/ 0 w 1518129"/>
                <a:gd name="connsiteY0" fmla="*/ 891306 h 1910576"/>
                <a:gd name="connsiteX1" fmla="*/ 227051 w 1518129"/>
                <a:gd name="connsiteY1" fmla="*/ 1320850 h 1910576"/>
                <a:gd name="connsiteX2" fmla="*/ 462841 w 1518129"/>
                <a:gd name="connsiteY2" fmla="*/ 1655174 h 1910576"/>
                <a:gd name="connsiteX3" fmla="*/ 655952 w 1518129"/>
                <a:gd name="connsiteY3" fmla="*/ 1885455 h 1910576"/>
                <a:gd name="connsiteX4" fmla="*/ 1366786 w 1518129"/>
                <a:gd name="connsiteY4" fmla="*/ 1899100 h 1910576"/>
                <a:gd name="connsiteX5" fmla="*/ 1516859 w 1518129"/>
                <a:gd name="connsiteY5" fmla="*/ 1069958 h 1910576"/>
                <a:gd name="connsiteX6" fmla="*/ 1464891 w 1518129"/>
                <a:gd name="connsiteY6" fmla="*/ 644162 h 1910576"/>
                <a:gd name="connsiteX7" fmla="*/ 1272486 w 1518129"/>
                <a:gd name="connsiteY7" fmla="*/ 612493 h 1910576"/>
                <a:gd name="connsiteX8" fmla="*/ 1264720 w 1518129"/>
                <a:gd name="connsiteY8" fmla="*/ 911472 h 1910576"/>
                <a:gd name="connsiteX9" fmla="*/ 1252622 w 1518129"/>
                <a:gd name="connsiteY9" fmla="*/ 600743 h 1910576"/>
                <a:gd name="connsiteX10" fmla="*/ 1022817 w 1518129"/>
                <a:gd name="connsiteY10" fmla="*/ 558366 h 1910576"/>
                <a:gd name="connsiteX11" fmla="*/ 1053082 w 1518129"/>
                <a:gd name="connsiteY11" fmla="*/ 887580 h 1910576"/>
                <a:gd name="connsiteX12" fmla="*/ 1001757 w 1518129"/>
                <a:gd name="connsiteY12" fmla="*/ 557324 h 1910576"/>
                <a:gd name="connsiteX13" fmla="*/ 806783 w 1518129"/>
                <a:gd name="connsiteY13" fmla="*/ 513030 h 1910576"/>
                <a:gd name="connsiteX14" fmla="*/ 810613 w 1518129"/>
                <a:gd name="connsiteY14" fmla="*/ 901237 h 1910576"/>
                <a:gd name="connsiteX15" fmla="*/ 778941 w 1518129"/>
                <a:gd name="connsiteY15" fmla="*/ 121917 h 1910576"/>
                <a:gd name="connsiteX16" fmla="*/ 582042 w 1518129"/>
                <a:gd name="connsiteY16" fmla="*/ 161731 h 1910576"/>
                <a:gd name="connsiteX17" fmla="*/ 554580 w 1518129"/>
                <a:gd name="connsiteY17" fmla="*/ 1197645 h 1910576"/>
                <a:gd name="connsiteX18" fmla="*/ 419736 w 1518129"/>
                <a:gd name="connsiteY18" fmla="*/ 1153389 h 1910576"/>
                <a:gd name="connsiteX19" fmla="*/ 0 w 1518129"/>
                <a:gd name="connsiteY19" fmla="*/ 891306 h 1910576"/>
                <a:gd name="connsiteX0" fmla="*/ 0 w 1518129"/>
                <a:gd name="connsiteY0" fmla="*/ 891306 h 1918220"/>
                <a:gd name="connsiteX1" fmla="*/ 227051 w 1518129"/>
                <a:gd name="connsiteY1" fmla="*/ 1320850 h 1918220"/>
                <a:gd name="connsiteX2" fmla="*/ 462841 w 1518129"/>
                <a:gd name="connsiteY2" fmla="*/ 1655174 h 1918220"/>
                <a:gd name="connsiteX3" fmla="*/ 670217 w 1518129"/>
                <a:gd name="connsiteY3" fmla="*/ 1896868 h 1918220"/>
                <a:gd name="connsiteX4" fmla="*/ 1366786 w 1518129"/>
                <a:gd name="connsiteY4" fmla="*/ 1899100 h 1918220"/>
                <a:gd name="connsiteX5" fmla="*/ 1516859 w 1518129"/>
                <a:gd name="connsiteY5" fmla="*/ 1069958 h 1918220"/>
                <a:gd name="connsiteX6" fmla="*/ 1464891 w 1518129"/>
                <a:gd name="connsiteY6" fmla="*/ 644162 h 1918220"/>
                <a:gd name="connsiteX7" fmla="*/ 1272486 w 1518129"/>
                <a:gd name="connsiteY7" fmla="*/ 612493 h 1918220"/>
                <a:gd name="connsiteX8" fmla="*/ 1264720 w 1518129"/>
                <a:gd name="connsiteY8" fmla="*/ 911472 h 1918220"/>
                <a:gd name="connsiteX9" fmla="*/ 1252622 w 1518129"/>
                <a:gd name="connsiteY9" fmla="*/ 600743 h 1918220"/>
                <a:gd name="connsiteX10" fmla="*/ 1022817 w 1518129"/>
                <a:gd name="connsiteY10" fmla="*/ 558366 h 1918220"/>
                <a:gd name="connsiteX11" fmla="*/ 1053082 w 1518129"/>
                <a:gd name="connsiteY11" fmla="*/ 887580 h 1918220"/>
                <a:gd name="connsiteX12" fmla="*/ 1001757 w 1518129"/>
                <a:gd name="connsiteY12" fmla="*/ 557324 h 1918220"/>
                <a:gd name="connsiteX13" fmla="*/ 806783 w 1518129"/>
                <a:gd name="connsiteY13" fmla="*/ 513030 h 1918220"/>
                <a:gd name="connsiteX14" fmla="*/ 810613 w 1518129"/>
                <a:gd name="connsiteY14" fmla="*/ 901237 h 1918220"/>
                <a:gd name="connsiteX15" fmla="*/ 778941 w 1518129"/>
                <a:gd name="connsiteY15" fmla="*/ 121917 h 1918220"/>
                <a:gd name="connsiteX16" fmla="*/ 582042 w 1518129"/>
                <a:gd name="connsiteY16" fmla="*/ 161731 h 1918220"/>
                <a:gd name="connsiteX17" fmla="*/ 554580 w 1518129"/>
                <a:gd name="connsiteY17" fmla="*/ 1197645 h 1918220"/>
                <a:gd name="connsiteX18" fmla="*/ 419736 w 1518129"/>
                <a:gd name="connsiteY18" fmla="*/ 1153389 h 1918220"/>
                <a:gd name="connsiteX19" fmla="*/ 0 w 1518129"/>
                <a:gd name="connsiteY19" fmla="*/ 891306 h 1918220"/>
                <a:gd name="connsiteX0" fmla="*/ 0 w 1518129"/>
                <a:gd name="connsiteY0" fmla="*/ 891306 h 1901925"/>
                <a:gd name="connsiteX1" fmla="*/ 227051 w 1518129"/>
                <a:gd name="connsiteY1" fmla="*/ 1320850 h 1901925"/>
                <a:gd name="connsiteX2" fmla="*/ 462841 w 1518129"/>
                <a:gd name="connsiteY2" fmla="*/ 1655174 h 1901925"/>
                <a:gd name="connsiteX3" fmla="*/ 670217 w 1518129"/>
                <a:gd name="connsiteY3" fmla="*/ 1896868 h 1901925"/>
                <a:gd name="connsiteX4" fmla="*/ 1366786 w 1518129"/>
                <a:gd name="connsiteY4" fmla="*/ 1899100 h 1901925"/>
                <a:gd name="connsiteX5" fmla="*/ 1516859 w 1518129"/>
                <a:gd name="connsiteY5" fmla="*/ 1069958 h 1901925"/>
                <a:gd name="connsiteX6" fmla="*/ 1464891 w 1518129"/>
                <a:gd name="connsiteY6" fmla="*/ 644162 h 1901925"/>
                <a:gd name="connsiteX7" fmla="*/ 1272486 w 1518129"/>
                <a:gd name="connsiteY7" fmla="*/ 612493 h 1901925"/>
                <a:gd name="connsiteX8" fmla="*/ 1264720 w 1518129"/>
                <a:gd name="connsiteY8" fmla="*/ 911472 h 1901925"/>
                <a:gd name="connsiteX9" fmla="*/ 1252622 w 1518129"/>
                <a:gd name="connsiteY9" fmla="*/ 600743 h 1901925"/>
                <a:gd name="connsiteX10" fmla="*/ 1022817 w 1518129"/>
                <a:gd name="connsiteY10" fmla="*/ 558366 h 1901925"/>
                <a:gd name="connsiteX11" fmla="*/ 1053082 w 1518129"/>
                <a:gd name="connsiteY11" fmla="*/ 887580 h 1901925"/>
                <a:gd name="connsiteX12" fmla="*/ 1001757 w 1518129"/>
                <a:gd name="connsiteY12" fmla="*/ 557324 h 1901925"/>
                <a:gd name="connsiteX13" fmla="*/ 806783 w 1518129"/>
                <a:gd name="connsiteY13" fmla="*/ 513030 h 1901925"/>
                <a:gd name="connsiteX14" fmla="*/ 810613 w 1518129"/>
                <a:gd name="connsiteY14" fmla="*/ 901237 h 1901925"/>
                <a:gd name="connsiteX15" fmla="*/ 778941 w 1518129"/>
                <a:gd name="connsiteY15" fmla="*/ 121917 h 1901925"/>
                <a:gd name="connsiteX16" fmla="*/ 582042 w 1518129"/>
                <a:gd name="connsiteY16" fmla="*/ 161731 h 1901925"/>
                <a:gd name="connsiteX17" fmla="*/ 554580 w 1518129"/>
                <a:gd name="connsiteY17" fmla="*/ 1197645 h 1901925"/>
                <a:gd name="connsiteX18" fmla="*/ 419736 w 1518129"/>
                <a:gd name="connsiteY18" fmla="*/ 1153389 h 1901925"/>
                <a:gd name="connsiteX19" fmla="*/ 0 w 1518129"/>
                <a:gd name="connsiteY19" fmla="*/ 891306 h 1901925"/>
                <a:gd name="connsiteX0" fmla="*/ 0 w 1518129"/>
                <a:gd name="connsiteY0" fmla="*/ 891306 h 1901925"/>
                <a:gd name="connsiteX1" fmla="*/ 227051 w 1518129"/>
                <a:gd name="connsiteY1" fmla="*/ 1320850 h 1901925"/>
                <a:gd name="connsiteX2" fmla="*/ 462841 w 1518129"/>
                <a:gd name="connsiteY2" fmla="*/ 1655174 h 1901925"/>
                <a:gd name="connsiteX3" fmla="*/ 670217 w 1518129"/>
                <a:gd name="connsiteY3" fmla="*/ 1896868 h 1901925"/>
                <a:gd name="connsiteX4" fmla="*/ 1366786 w 1518129"/>
                <a:gd name="connsiteY4" fmla="*/ 1899100 h 1901925"/>
                <a:gd name="connsiteX5" fmla="*/ 1516859 w 1518129"/>
                <a:gd name="connsiteY5" fmla="*/ 1069958 h 1901925"/>
                <a:gd name="connsiteX6" fmla="*/ 1464891 w 1518129"/>
                <a:gd name="connsiteY6" fmla="*/ 644162 h 1901925"/>
                <a:gd name="connsiteX7" fmla="*/ 1272486 w 1518129"/>
                <a:gd name="connsiteY7" fmla="*/ 612493 h 1901925"/>
                <a:gd name="connsiteX8" fmla="*/ 1264720 w 1518129"/>
                <a:gd name="connsiteY8" fmla="*/ 911472 h 1901925"/>
                <a:gd name="connsiteX9" fmla="*/ 1252622 w 1518129"/>
                <a:gd name="connsiteY9" fmla="*/ 600743 h 1901925"/>
                <a:gd name="connsiteX10" fmla="*/ 1022817 w 1518129"/>
                <a:gd name="connsiteY10" fmla="*/ 558366 h 1901925"/>
                <a:gd name="connsiteX11" fmla="*/ 1053082 w 1518129"/>
                <a:gd name="connsiteY11" fmla="*/ 887580 h 1901925"/>
                <a:gd name="connsiteX12" fmla="*/ 1001757 w 1518129"/>
                <a:gd name="connsiteY12" fmla="*/ 557324 h 1901925"/>
                <a:gd name="connsiteX13" fmla="*/ 806783 w 1518129"/>
                <a:gd name="connsiteY13" fmla="*/ 513030 h 1901925"/>
                <a:gd name="connsiteX14" fmla="*/ 810613 w 1518129"/>
                <a:gd name="connsiteY14" fmla="*/ 901237 h 1901925"/>
                <a:gd name="connsiteX15" fmla="*/ 778941 w 1518129"/>
                <a:gd name="connsiteY15" fmla="*/ 121917 h 1901925"/>
                <a:gd name="connsiteX16" fmla="*/ 582042 w 1518129"/>
                <a:gd name="connsiteY16" fmla="*/ 161731 h 1901925"/>
                <a:gd name="connsiteX17" fmla="*/ 554580 w 1518129"/>
                <a:gd name="connsiteY17" fmla="*/ 1197645 h 1901925"/>
                <a:gd name="connsiteX18" fmla="*/ 419736 w 1518129"/>
                <a:gd name="connsiteY18" fmla="*/ 1153389 h 1901925"/>
                <a:gd name="connsiteX19" fmla="*/ 0 w 1518129"/>
                <a:gd name="connsiteY19" fmla="*/ 891306 h 1901925"/>
                <a:gd name="connsiteX0" fmla="*/ 0 w 1518129"/>
                <a:gd name="connsiteY0" fmla="*/ 891306 h 1900789"/>
                <a:gd name="connsiteX1" fmla="*/ 227051 w 1518129"/>
                <a:gd name="connsiteY1" fmla="*/ 1320850 h 1900789"/>
                <a:gd name="connsiteX2" fmla="*/ 462841 w 1518129"/>
                <a:gd name="connsiteY2" fmla="*/ 1655174 h 1900789"/>
                <a:gd name="connsiteX3" fmla="*/ 670217 w 1518129"/>
                <a:gd name="connsiteY3" fmla="*/ 1896868 h 1900789"/>
                <a:gd name="connsiteX4" fmla="*/ 1366786 w 1518129"/>
                <a:gd name="connsiteY4" fmla="*/ 1899100 h 1900789"/>
                <a:gd name="connsiteX5" fmla="*/ 1516859 w 1518129"/>
                <a:gd name="connsiteY5" fmla="*/ 1069958 h 1900789"/>
                <a:gd name="connsiteX6" fmla="*/ 1464891 w 1518129"/>
                <a:gd name="connsiteY6" fmla="*/ 644162 h 1900789"/>
                <a:gd name="connsiteX7" fmla="*/ 1272486 w 1518129"/>
                <a:gd name="connsiteY7" fmla="*/ 612493 h 1900789"/>
                <a:gd name="connsiteX8" fmla="*/ 1264720 w 1518129"/>
                <a:gd name="connsiteY8" fmla="*/ 911472 h 1900789"/>
                <a:gd name="connsiteX9" fmla="*/ 1252622 w 1518129"/>
                <a:gd name="connsiteY9" fmla="*/ 600743 h 1900789"/>
                <a:gd name="connsiteX10" fmla="*/ 1022817 w 1518129"/>
                <a:gd name="connsiteY10" fmla="*/ 558366 h 1900789"/>
                <a:gd name="connsiteX11" fmla="*/ 1053082 w 1518129"/>
                <a:gd name="connsiteY11" fmla="*/ 887580 h 1900789"/>
                <a:gd name="connsiteX12" fmla="*/ 1001757 w 1518129"/>
                <a:gd name="connsiteY12" fmla="*/ 557324 h 1900789"/>
                <a:gd name="connsiteX13" fmla="*/ 806783 w 1518129"/>
                <a:gd name="connsiteY13" fmla="*/ 513030 h 1900789"/>
                <a:gd name="connsiteX14" fmla="*/ 810613 w 1518129"/>
                <a:gd name="connsiteY14" fmla="*/ 901237 h 1900789"/>
                <a:gd name="connsiteX15" fmla="*/ 778941 w 1518129"/>
                <a:gd name="connsiteY15" fmla="*/ 121917 h 1900789"/>
                <a:gd name="connsiteX16" fmla="*/ 582042 w 1518129"/>
                <a:gd name="connsiteY16" fmla="*/ 161731 h 1900789"/>
                <a:gd name="connsiteX17" fmla="*/ 554580 w 1518129"/>
                <a:gd name="connsiteY17" fmla="*/ 1197645 h 1900789"/>
                <a:gd name="connsiteX18" fmla="*/ 419736 w 1518129"/>
                <a:gd name="connsiteY18" fmla="*/ 1153389 h 1900789"/>
                <a:gd name="connsiteX19" fmla="*/ 0 w 1518129"/>
                <a:gd name="connsiteY19" fmla="*/ 891306 h 1900789"/>
                <a:gd name="connsiteX0" fmla="*/ 0 w 1518129"/>
                <a:gd name="connsiteY0" fmla="*/ 891306 h 1899182"/>
                <a:gd name="connsiteX1" fmla="*/ 227051 w 1518129"/>
                <a:gd name="connsiteY1" fmla="*/ 1320850 h 1899182"/>
                <a:gd name="connsiteX2" fmla="*/ 462841 w 1518129"/>
                <a:gd name="connsiteY2" fmla="*/ 1655174 h 1899182"/>
                <a:gd name="connsiteX3" fmla="*/ 670217 w 1518129"/>
                <a:gd name="connsiteY3" fmla="*/ 1896868 h 1899182"/>
                <a:gd name="connsiteX4" fmla="*/ 1366786 w 1518129"/>
                <a:gd name="connsiteY4" fmla="*/ 1899100 h 1899182"/>
                <a:gd name="connsiteX5" fmla="*/ 1516859 w 1518129"/>
                <a:gd name="connsiteY5" fmla="*/ 1069958 h 1899182"/>
                <a:gd name="connsiteX6" fmla="*/ 1464891 w 1518129"/>
                <a:gd name="connsiteY6" fmla="*/ 644162 h 1899182"/>
                <a:gd name="connsiteX7" fmla="*/ 1272486 w 1518129"/>
                <a:gd name="connsiteY7" fmla="*/ 612493 h 1899182"/>
                <a:gd name="connsiteX8" fmla="*/ 1264720 w 1518129"/>
                <a:gd name="connsiteY8" fmla="*/ 911472 h 1899182"/>
                <a:gd name="connsiteX9" fmla="*/ 1252622 w 1518129"/>
                <a:gd name="connsiteY9" fmla="*/ 600743 h 1899182"/>
                <a:gd name="connsiteX10" fmla="*/ 1022817 w 1518129"/>
                <a:gd name="connsiteY10" fmla="*/ 558366 h 1899182"/>
                <a:gd name="connsiteX11" fmla="*/ 1053082 w 1518129"/>
                <a:gd name="connsiteY11" fmla="*/ 887580 h 1899182"/>
                <a:gd name="connsiteX12" fmla="*/ 1001757 w 1518129"/>
                <a:gd name="connsiteY12" fmla="*/ 557324 h 1899182"/>
                <a:gd name="connsiteX13" fmla="*/ 806783 w 1518129"/>
                <a:gd name="connsiteY13" fmla="*/ 513030 h 1899182"/>
                <a:gd name="connsiteX14" fmla="*/ 810613 w 1518129"/>
                <a:gd name="connsiteY14" fmla="*/ 901237 h 1899182"/>
                <a:gd name="connsiteX15" fmla="*/ 778941 w 1518129"/>
                <a:gd name="connsiteY15" fmla="*/ 121917 h 1899182"/>
                <a:gd name="connsiteX16" fmla="*/ 582042 w 1518129"/>
                <a:gd name="connsiteY16" fmla="*/ 161731 h 1899182"/>
                <a:gd name="connsiteX17" fmla="*/ 554580 w 1518129"/>
                <a:gd name="connsiteY17" fmla="*/ 1197645 h 1899182"/>
                <a:gd name="connsiteX18" fmla="*/ 419736 w 1518129"/>
                <a:gd name="connsiteY18" fmla="*/ 1153389 h 1899182"/>
                <a:gd name="connsiteX19" fmla="*/ 0 w 1518129"/>
                <a:gd name="connsiteY19" fmla="*/ 891306 h 1899182"/>
                <a:gd name="connsiteX0" fmla="*/ 0 w 1518129"/>
                <a:gd name="connsiteY0" fmla="*/ 891306 h 1898397"/>
                <a:gd name="connsiteX1" fmla="*/ 227051 w 1518129"/>
                <a:gd name="connsiteY1" fmla="*/ 1320850 h 1898397"/>
                <a:gd name="connsiteX2" fmla="*/ 462841 w 1518129"/>
                <a:gd name="connsiteY2" fmla="*/ 1655174 h 1898397"/>
                <a:gd name="connsiteX3" fmla="*/ 670217 w 1518129"/>
                <a:gd name="connsiteY3" fmla="*/ 1896868 h 1898397"/>
                <a:gd name="connsiteX4" fmla="*/ 1366786 w 1518129"/>
                <a:gd name="connsiteY4" fmla="*/ 1893394 h 1898397"/>
                <a:gd name="connsiteX5" fmla="*/ 1516859 w 1518129"/>
                <a:gd name="connsiteY5" fmla="*/ 1069958 h 1898397"/>
                <a:gd name="connsiteX6" fmla="*/ 1464891 w 1518129"/>
                <a:gd name="connsiteY6" fmla="*/ 644162 h 1898397"/>
                <a:gd name="connsiteX7" fmla="*/ 1272486 w 1518129"/>
                <a:gd name="connsiteY7" fmla="*/ 612493 h 1898397"/>
                <a:gd name="connsiteX8" fmla="*/ 1264720 w 1518129"/>
                <a:gd name="connsiteY8" fmla="*/ 911472 h 1898397"/>
                <a:gd name="connsiteX9" fmla="*/ 1252622 w 1518129"/>
                <a:gd name="connsiteY9" fmla="*/ 600743 h 1898397"/>
                <a:gd name="connsiteX10" fmla="*/ 1022817 w 1518129"/>
                <a:gd name="connsiteY10" fmla="*/ 558366 h 1898397"/>
                <a:gd name="connsiteX11" fmla="*/ 1053082 w 1518129"/>
                <a:gd name="connsiteY11" fmla="*/ 887580 h 1898397"/>
                <a:gd name="connsiteX12" fmla="*/ 1001757 w 1518129"/>
                <a:gd name="connsiteY12" fmla="*/ 557324 h 1898397"/>
                <a:gd name="connsiteX13" fmla="*/ 806783 w 1518129"/>
                <a:gd name="connsiteY13" fmla="*/ 513030 h 1898397"/>
                <a:gd name="connsiteX14" fmla="*/ 810613 w 1518129"/>
                <a:gd name="connsiteY14" fmla="*/ 901237 h 1898397"/>
                <a:gd name="connsiteX15" fmla="*/ 778941 w 1518129"/>
                <a:gd name="connsiteY15" fmla="*/ 121917 h 1898397"/>
                <a:gd name="connsiteX16" fmla="*/ 582042 w 1518129"/>
                <a:gd name="connsiteY16" fmla="*/ 161731 h 1898397"/>
                <a:gd name="connsiteX17" fmla="*/ 554580 w 1518129"/>
                <a:gd name="connsiteY17" fmla="*/ 1197645 h 1898397"/>
                <a:gd name="connsiteX18" fmla="*/ 419736 w 1518129"/>
                <a:gd name="connsiteY18" fmla="*/ 1153389 h 1898397"/>
                <a:gd name="connsiteX19" fmla="*/ 0 w 1518129"/>
                <a:gd name="connsiteY19" fmla="*/ 891306 h 1898397"/>
                <a:gd name="connsiteX0" fmla="*/ 0 w 1518129"/>
                <a:gd name="connsiteY0" fmla="*/ 891306 h 2061944"/>
                <a:gd name="connsiteX1" fmla="*/ 227051 w 1518129"/>
                <a:gd name="connsiteY1" fmla="*/ 1320850 h 2061944"/>
                <a:gd name="connsiteX2" fmla="*/ 462841 w 1518129"/>
                <a:gd name="connsiteY2" fmla="*/ 1655174 h 2061944"/>
                <a:gd name="connsiteX3" fmla="*/ 704940 w 1518129"/>
                <a:gd name="connsiteY3" fmla="*/ 2061799 h 2061944"/>
                <a:gd name="connsiteX4" fmla="*/ 1366786 w 1518129"/>
                <a:gd name="connsiteY4" fmla="*/ 1893394 h 2061944"/>
                <a:gd name="connsiteX5" fmla="*/ 1516859 w 1518129"/>
                <a:gd name="connsiteY5" fmla="*/ 1069958 h 2061944"/>
                <a:gd name="connsiteX6" fmla="*/ 1464891 w 1518129"/>
                <a:gd name="connsiteY6" fmla="*/ 644162 h 2061944"/>
                <a:gd name="connsiteX7" fmla="*/ 1272486 w 1518129"/>
                <a:gd name="connsiteY7" fmla="*/ 612493 h 2061944"/>
                <a:gd name="connsiteX8" fmla="*/ 1264720 w 1518129"/>
                <a:gd name="connsiteY8" fmla="*/ 911472 h 2061944"/>
                <a:gd name="connsiteX9" fmla="*/ 1252622 w 1518129"/>
                <a:gd name="connsiteY9" fmla="*/ 600743 h 2061944"/>
                <a:gd name="connsiteX10" fmla="*/ 1022817 w 1518129"/>
                <a:gd name="connsiteY10" fmla="*/ 558366 h 2061944"/>
                <a:gd name="connsiteX11" fmla="*/ 1053082 w 1518129"/>
                <a:gd name="connsiteY11" fmla="*/ 887580 h 2061944"/>
                <a:gd name="connsiteX12" fmla="*/ 1001757 w 1518129"/>
                <a:gd name="connsiteY12" fmla="*/ 557324 h 2061944"/>
                <a:gd name="connsiteX13" fmla="*/ 806783 w 1518129"/>
                <a:gd name="connsiteY13" fmla="*/ 513030 h 2061944"/>
                <a:gd name="connsiteX14" fmla="*/ 810613 w 1518129"/>
                <a:gd name="connsiteY14" fmla="*/ 901237 h 2061944"/>
                <a:gd name="connsiteX15" fmla="*/ 778941 w 1518129"/>
                <a:gd name="connsiteY15" fmla="*/ 121917 h 2061944"/>
                <a:gd name="connsiteX16" fmla="*/ 582042 w 1518129"/>
                <a:gd name="connsiteY16" fmla="*/ 161731 h 2061944"/>
                <a:gd name="connsiteX17" fmla="*/ 554580 w 1518129"/>
                <a:gd name="connsiteY17" fmla="*/ 1197645 h 2061944"/>
                <a:gd name="connsiteX18" fmla="*/ 419736 w 1518129"/>
                <a:gd name="connsiteY18" fmla="*/ 1153389 h 2061944"/>
                <a:gd name="connsiteX19" fmla="*/ 0 w 1518129"/>
                <a:gd name="connsiteY19" fmla="*/ 891306 h 2061944"/>
                <a:gd name="connsiteX0" fmla="*/ 0 w 1518129"/>
                <a:gd name="connsiteY0" fmla="*/ 891306 h 2063328"/>
                <a:gd name="connsiteX1" fmla="*/ 227051 w 1518129"/>
                <a:gd name="connsiteY1" fmla="*/ 1320850 h 2063328"/>
                <a:gd name="connsiteX2" fmla="*/ 462841 w 1518129"/>
                <a:gd name="connsiteY2" fmla="*/ 1655174 h 2063328"/>
                <a:gd name="connsiteX3" fmla="*/ 704940 w 1518129"/>
                <a:gd name="connsiteY3" fmla="*/ 2061799 h 2063328"/>
                <a:gd name="connsiteX4" fmla="*/ 1358105 w 1518129"/>
                <a:gd name="connsiteY4" fmla="*/ 2058325 h 2063328"/>
                <a:gd name="connsiteX5" fmla="*/ 1516859 w 1518129"/>
                <a:gd name="connsiteY5" fmla="*/ 1069958 h 2063328"/>
                <a:gd name="connsiteX6" fmla="*/ 1464891 w 1518129"/>
                <a:gd name="connsiteY6" fmla="*/ 644162 h 2063328"/>
                <a:gd name="connsiteX7" fmla="*/ 1272486 w 1518129"/>
                <a:gd name="connsiteY7" fmla="*/ 612493 h 2063328"/>
                <a:gd name="connsiteX8" fmla="*/ 1264720 w 1518129"/>
                <a:gd name="connsiteY8" fmla="*/ 911472 h 2063328"/>
                <a:gd name="connsiteX9" fmla="*/ 1252622 w 1518129"/>
                <a:gd name="connsiteY9" fmla="*/ 600743 h 2063328"/>
                <a:gd name="connsiteX10" fmla="*/ 1022817 w 1518129"/>
                <a:gd name="connsiteY10" fmla="*/ 558366 h 2063328"/>
                <a:gd name="connsiteX11" fmla="*/ 1053082 w 1518129"/>
                <a:gd name="connsiteY11" fmla="*/ 887580 h 2063328"/>
                <a:gd name="connsiteX12" fmla="*/ 1001757 w 1518129"/>
                <a:gd name="connsiteY12" fmla="*/ 557324 h 2063328"/>
                <a:gd name="connsiteX13" fmla="*/ 806783 w 1518129"/>
                <a:gd name="connsiteY13" fmla="*/ 513030 h 2063328"/>
                <a:gd name="connsiteX14" fmla="*/ 810613 w 1518129"/>
                <a:gd name="connsiteY14" fmla="*/ 901237 h 2063328"/>
                <a:gd name="connsiteX15" fmla="*/ 778941 w 1518129"/>
                <a:gd name="connsiteY15" fmla="*/ 121917 h 2063328"/>
                <a:gd name="connsiteX16" fmla="*/ 582042 w 1518129"/>
                <a:gd name="connsiteY16" fmla="*/ 161731 h 2063328"/>
                <a:gd name="connsiteX17" fmla="*/ 554580 w 1518129"/>
                <a:gd name="connsiteY17" fmla="*/ 1197645 h 2063328"/>
                <a:gd name="connsiteX18" fmla="*/ 419736 w 1518129"/>
                <a:gd name="connsiteY18" fmla="*/ 1153389 h 2063328"/>
                <a:gd name="connsiteX19" fmla="*/ 0 w 1518129"/>
                <a:gd name="connsiteY19" fmla="*/ 891306 h 2063328"/>
                <a:gd name="connsiteX0" fmla="*/ 0 w 1518129"/>
                <a:gd name="connsiteY0" fmla="*/ 891306 h 2063328"/>
                <a:gd name="connsiteX1" fmla="*/ 227051 w 1518129"/>
                <a:gd name="connsiteY1" fmla="*/ 1320850 h 2063328"/>
                <a:gd name="connsiteX2" fmla="*/ 462841 w 1518129"/>
                <a:gd name="connsiteY2" fmla="*/ 1655174 h 2063328"/>
                <a:gd name="connsiteX3" fmla="*/ 704940 w 1518129"/>
                <a:gd name="connsiteY3" fmla="*/ 2061799 h 2063328"/>
                <a:gd name="connsiteX4" fmla="*/ 1358105 w 1518129"/>
                <a:gd name="connsiteY4" fmla="*/ 2058325 h 2063328"/>
                <a:gd name="connsiteX5" fmla="*/ 1516859 w 1518129"/>
                <a:gd name="connsiteY5" fmla="*/ 1069958 h 2063328"/>
                <a:gd name="connsiteX6" fmla="*/ 1464891 w 1518129"/>
                <a:gd name="connsiteY6" fmla="*/ 644162 h 2063328"/>
                <a:gd name="connsiteX7" fmla="*/ 1272486 w 1518129"/>
                <a:gd name="connsiteY7" fmla="*/ 612493 h 2063328"/>
                <a:gd name="connsiteX8" fmla="*/ 1264720 w 1518129"/>
                <a:gd name="connsiteY8" fmla="*/ 911472 h 2063328"/>
                <a:gd name="connsiteX9" fmla="*/ 1252622 w 1518129"/>
                <a:gd name="connsiteY9" fmla="*/ 600743 h 2063328"/>
                <a:gd name="connsiteX10" fmla="*/ 1022817 w 1518129"/>
                <a:gd name="connsiteY10" fmla="*/ 558366 h 2063328"/>
                <a:gd name="connsiteX11" fmla="*/ 1053082 w 1518129"/>
                <a:gd name="connsiteY11" fmla="*/ 887580 h 2063328"/>
                <a:gd name="connsiteX12" fmla="*/ 1001757 w 1518129"/>
                <a:gd name="connsiteY12" fmla="*/ 557324 h 2063328"/>
                <a:gd name="connsiteX13" fmla="*/ 806783 w 1518129"/>
                <a:gd name="connsiteY13" fmla="*/ 513030 h 2063328"/>
                <a:gd name="connsiteX14" fmla="*/ 810613 w 1518129"/>
                <a:gd name="connsiteY14" fmla="*/ 901237 h 2063328"/>
                <a:gd name="connsiteX15" fmla="*/ 778941 w 1518129"/>
                <a:gd name="connsiteY15" fmla="*/ 121917 h 2063328"/>
                <a:gd name="connsiteX16" fmla="*/ 582042 w 1518129"/>
                <a:gd name="connsiteY16" fmla="*/ 161731 h 2063328"/>
                <a:gd name="connsiteX17" fmla="*/ 554580 w 1518129"/>
                <a:gd name="connsiteY17" fmla="*/ 1197645 h 2063328"/>
                <a:gd name="connsiteX18" fmla="*/ 419736 w 1518129"/>
                <a:gd name="connsiteY18" fmla="*/ 1153389 h 2063328"/>
                <a:gd name="connsiteX19" fmla="*/ 0 w 1518129"/>
                <a:gd name="connsiteY19" fmla="*/ 891306 h 2063328"/>
                <a:gd name="connsiteX0" fmla="*/ 0 w 1518129"/>
                <a:gd name="connsiteY0" fmla="*/ 891306 h 2063328"/>
                <a:gd name="connsiteX1" fmla="*/ 227051 w 1518129"/>
                <a:gd name="connsiteY1" fmla="*/ 1320850 h 2063328"/>
                <a:gd name="connsiteX2" fmla="*/ 462841 w 1518129"/>
                <a:gd name="connsiteY2" fmla="*/ 1655174 h 2063328"/>
                <a:gd name="connsiteX3" fmla="*/ 704940 w 1518129"/>
                <a:gd name="connsiteY3" fmla="*/ 2061799 h 2063328"/>
                <a:gd name="connsiteX4" fmla="*/ 1358105 w 1518129"/>
                <a:gd name="connsiteY4" fmla="*/ 2058325 h 2063328"/>
                <a:gd name="connsiteX5" fmla="*/ 1516859 w 1518129"/>
                <a:gd name="connsiteY5" fmla="*/ 1069958 h 2063328"/>
                <a:gd name="connsiteX6" fmla="*/ 1464891 w 1518129"/>
                <a:gd name="connsiteY6" fmla="*/ 644162 h 2063328"/>
                <a:gd name="connsiteX7" fmla="*/ 1272486 w 1518129"/>
                <a:gd name="connsiteY7" fmla="*/ 612493 h 2063328"/>
                <a:gd name="connsiteX8" fmla="*/ 1264720 w 1518129"/>
                <a:gd name="connsiteY8" fmla="*/ 911472 h 2063328"/>
                <a:gd name="connsiteX9" fmla="*/ 1252622 w 1518129"/>
                <a:gd name="connsiteY9" fmla="*/ 600743 h 2063328"/>
                <a:gd name="connsiteX10" fmla="*/ 1022817 w 1518129"/>
                <a:gd name="connsiteY10" fmla="*/ 558366 h 2063328"/>
                <a:gd name="connsiteX11" fmla="*/ 1053082 w 1518129"/>
                <a:gd name="connsiteY11" fmla="*/ 887580 h 2063328"/>
                <a:gd name="connsiteX12" fmla="*/ 1001757 w 1518129"/>
                <a:gd name="connsiteY12" fmla="*/ 557324 h 2063328"/>
                <a:gd name="connsiteX13" fmla="*/ 806783 w 1518129"/>
                <a:gd name="connsiteY13" fmla="*/ 513030 h 2063328"/>
                <a:gd name="connsiteX14" fmla="*/ 810613 w 1518129"/>
                <a:gd name="connsiteY14" fmla="*/ 901237 h 2063328"/>
                <a:gd name="connsiteX15" fmla="*/ 778941 w 1518129"/>
                <a:gd name="connsiteY15" fmla="*/ 121917 h 2063328"/>
                <a:gd name="connsiteX16" fmla="*/ 582042 w 1518129"/>
                <a:gd name="connsiteY16" fmla="*/ 161731 h 2063328"/>
                <a:gd name="connsiteX17" fmla="*/ 554580 w 1518129"/>
                <a:gd name="connsiteY17" fmla="*/ 1197645 h 2063328"/>
                <a:gd name="connsiteX18" fmla="*/ 419736 w 1518129"/>
                <a:gd name="connsiteY18" fmla="*/ 1153389 h 2063328"/>
                <a:gd name="connsiteX19" fmla="*/ 0 w 1518129"/>
                <a:gd name="connsiteY19" fmla="*/ 891306 h 2063328"/>
                <a:gd name="connsiteX0" fmla="*/ 0 w 1518129"/>
                <a:gd name="connsiteY0" fmla="*/ 891306 h 2063328"/>
                <a:gd name="connsiteX1" fmla="*/ 227051 w 1518129"/>
                <a:gd name="connsiteY1" fmla="*/ 1320850 h 2063328"/>
                <a:gd name="connsiteX2" fmla="*/ 462841 w 1518129"/>
                <a:gd name="connsiteY2" fmla="*/ 1655174 h 2063328"/>
                <a:gd name="connsiteX3" fmla="*/ 704940 w 1518129"/>
                <a:gd name="connsiteY3" fmla="*/ 2061799 h 2063328"/>
                <a:gd name="connsiteX4" fmla="*/ 1358105 w 1518129"/>
                <a:gd name="connsiteY4" fmla="*/ 2058325 h 2063328"/>
                <a:gd name="connsiteX5" fmla="*/ 1516859 w 1518129"/>
                <a:gd name="connsiteY5" fmla="*/ 1069958 h 2063328"/>
                <a:gd name="connsiteX6" fmla="*/ 1464891 w 1518129"/>
                <a:gd name="connsiteY6" fmla="*/ 644162 h 2063328"/>
                <a:gd name="connsiteX7" fmla="*/ 1272486 w 1518129"/>
                <a:gd name="connsiteY7" fmla="*/ 612493 h 2063328"/>
                <a:gd name="connsiteX8" fmla="*/ 1264720 w 1518129"/>
                <a:gd name="connsiteY8" fmla="*/ 911472 h 2063328"/>
                <a:gd name="connsiteX9" fmla="*/ 1252622 w 1518129"/>
                <a:gd name="connsiteY9" fmla="*/ 600743 h 2063328"/>
                <a:gd name="connsiteX10" fmla="*/ 1022817 w 1518129"/>
                <a:gd name="connsiteY10" fmla="*/ 558366 h 2063328"/>
                <a:gd name="connsiteX11" fmla="*/ 1053082 w 1518129"/>
                <a:gd name="connsiteY11" fmla="*/ 887580 h 2063328"/>
                <a:gd name="connsiteX12" fmla="*/ 1001757 w 1518129"/>
                <a:gd name="connsiteY12" fmla="*/ 557324 h 2063328"/>
                <a:gd name="connsiteX13" fmla="*/ 806783 w 1518129"/>
                <a:gd name="connsiteY13" fmla="*/ 513030 h 2063328"/>
                <a:gd name="connsiteX14" fmla="*/ 810613 w 1518129"/>
                <a:gd name="connsiteY14" fmla="*/ 901237 h 2063328"/>
                <a:gd name="connsiteX15" fmla="*/ 778941 w 1518129"/>
                <a:gd name="connsiteY15" fmla="*/ 121917 h 2063328"/>
                <a:gd name="connsiteX16" fmla="*/ 582042 w 1518129"/>
                <a:gd name="connsiteY16" fmla="*/ 161731 h 2063328"/>
                <a:gd name="connsiteX17" fmla="*/ 554580 w 1518129"/>
                <a:gd name="connsiteY17" fmla="*/ 1197645 h 2063328"/>
                <a:gd name="connsiteX18" fmla="*/ 419736 w 1518129"/>
                <a:gd name="connsiteY18" fmla="*/ 1153389 h 2063328"/>
                <a:gd name="connsiteX19" fmla="*/ 0 w 1518129"/>
                <a:gd name="connsiteY19" fmla="*/ 891306 h 2063328"/>
                <a:gd name="connsiteX0" fmla="*/ 0 w 1518129"/>
                <a:gd name="connsiteY0" fmla="*/ 891306 h 2058325"/>
                <a:gd name="connsiteX1" fmla="*/ 227051 w 1518129"/>
                <a:gd name="connsiteY1" fmla="*/ 1320850 h 2058325"/>
                <a:gd name="connsiteX2" fmla="*/ 462841 w 1518129"/>
                <a:gd name="connsiteY2" fmla="*/ 1655174 h 2058325"/>
                <a:gd name="connsiteX3" fmla="*/ 661537 w 1518129"/>
                <a:gd name="connsiteY3" fmla="*/ 2053119 h 2058325"/>
                <a:gd name="connsiteX4" fmla="*/ 1358105 w 1518129"/>
                <a:gd name="connsiteY4" fmla="*/ 2058325 h 2058325"/>
                <a:gd name="connsiteX5" fmla="*/ 1516859 w 1518129"/>
                <a:gd name="connsiteY5" fmla="*/ 1069958 h 2058325"/>
                <a:gd name="connsiteX6" fmla="*/ 1464891 w 1518129"/>
                <a:gd name="connsiteY6" fmla="*/ 644162 h 2058325"/>
                <a:gd name="connsiteX7" fmla="*/ 1272486 w 1518129"/>
                <a:gd name="connsiteY7" fmla="*/ 612493 h 2058325"/>
                <a:gd name="connsiteX8" fmla="*/ 1264720 w 1518129"/>
                <a:gd name="connsiteY8" fmla="*/ 911472 h 2058325"/>
                <a:gd name="connsiteX9" fmla="*/ 1252622 w 1518129"/>
                <a:gd name="connsiteY9" fmla="*/ 600743 h 2058325"/>
                <a:gd name="connsiteX10" fmla="*/ 1022817 w 1518129"/>
                <a:gd name="connsiteY10" fmla="*/ 558366 h 2058325"/>
                <a:gd name="connsiteX11" fmla="*/ 1053082 w 1518129"/>
                <a:gd name="connsiteY11" fmla="*/ 887580 h 2058325"/>
                <a:gd name="connsiteX12" fmla="*/ 1001757 w 1518129"/>
                <a:gd name="connsiteY12" fmla="*/ 557324 h 2058325"/>
                <a:gd name="connsiteX13" fmla="*/ 806783 w 1518129"/>
                <a:gd name="connsiteY13" fmla="*/ 513030 h 2058325"/>
                <a:gd name="connsiteX14" fmla="*/ 810613 w 1518129"/>
                <a:gd name="connsiteY14" fmla="*/ 901237 h 2058325"/>
                <a:gd name="connsiteX15" fmla="*/ 778941 w 1518129"/>
                <a:gd name="connsiteY15" fmla="*/ 121917 h 2058325"/>
                <a:gd name="connsiteX16" fmla="*/ 582042 w 1518129"/>
                <a:gd name="connsiteY16" fmla="*/ 161731 h 2058325"/>
                <a:gd name="connsiteX17" fmla="*/ 554580 w 1518129"/>
                <a:gd name="connsiteY17" fmla="*/ 1197645 h 2058325"/>
                <a:gd name="connsiteX18" fmla="*/ 419736 w 1518129"/>
                <a:gd name="connsiteY18" fmla="*/ 1153389 h 2058325"/>
                <a:gd name="connsiteX19" fmla="*/ 0 w 1518129"/>
                <a:gd name="connsiteY19" fmla="*/ 891306 h 2058325"/>
                <a:gd name="connsiteX0" fmla="*/ 0 w 1518129"/>
                <a:gd name="connsiteY0" fmla="*/ 891306 h 2058325"/>
                <a:gd name="connsiteX1" fmla="*/ 227051 w 1518129"/>
                <a:gd name="connsiteY1" fmla="*/ 1320850 h 2058325"/>
                <a:gd name="connsiteX2" fmla="*/ 462841 w 1518129"/>
                <a:gd name="connsiteY2" fmla="*/ 1707258 h 2058325"/>
                <a:gd name="connsiteX3" fmla="*/ 661537 w 1518129"/>
                <a:gd name="connsiteY3" fmla="*/ 2053119 h 2058325"/>
                <a:gd name="connsiteX4" fmla="*/ 1358105 w 1518129"/>
                <a:gd name="connsiteY4" fmla="*/ 2058325 h 2058325"/>
                <a:gd name="connsiteX5" fmla="*/ 1516859 w 1518129"/>
                <a:gd name="connsiteY5" fmla="*/ 1069958 h 2058325"/>
                <a:gd name="connsiteX6" fmla="*/ 1464891 w 1518129"/>
                <a:gd name="connsiteY6" fmla="*/ 644162 h 2058325"/>
                <a:gd name="connsiteX7" fmla="*/ 1272486 w 1518129"/>
                <a:gd name="connsiteY7" fmla="*/ 612493 h 2058325"/>
                <a:gd name="connsiteX8" fmla="*/ 1264720 w 1518129"/>
                <a:gd name="connsiteY8" fmla="*/ 911472 h 2058325"/>
                <a:gd name="connsiteX9" fmla="*/ 1252622 w 1518129"/>
                <a:gd name="connsiteY9" fmla="*/ 600743 h 2058325"/>
                <a:gd name="connsiteX10" fmla="*/ 1022817 w 1518129"/>
                <a:gd name="connsiteY10" fmla="*/ 558366 h 2058325"/>
                <a:gd name="connsiteX11" fmla="*/ 1053082 w 1518129"/>
                <a:gd name="connsiteY11" fmla="*/ 887580 h 2058325"/>
                <a:gd name="connsiteX12" fmla="*/ 1001757 w 1518129"/>
                <a:gd name="connsiteY12" fmla="*/ 557324 h 2058325"/>
                <a:gd name="connsiteX13" fmla="*/ 806783 w 1518129"/>
                <a:gd name="connsiteY13" fmla="*/ 513030 h 2058325"/>
                <a:gd name="connsiteX14" fmla="*/ 810613 w 1518129"/>
                <a:gd name="connsiteY14" fmla="*/ 901237 h 2058325"/>
                <a:gd name="connsiteX15" fmla="*/ 778941 w 1518129"/>
                <a:gd name="connsiteY15" fmla="*/ 121917 h 2058325"/>
                <a:gd name="connsiteX16" fmla="*/ 582042 w 1518129"/>
                <a:gd name="connsiteY16" fmla="*/ 161731 h 2058325"/>
                <a:gd name="connsiteX17" fmla="*/ 554580 w 1518129"/>
                <a:gd name="connsiteY17" fmla="*/ 1197645 h 2058325"/>
                <a:gd name="connsiteX18" fmla="*/ 419736 w 1518129"/>
                <a:gd name="connsiteY18" fmla="*/ 1153389 h 2058325"/>
                <a:gd name="connsiteX19" fmla="*/ 0 w 1518129"/>
                <a:gd name="connsiteY19" fmla="*/ 891306 h 2058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518129" h="2058325">
                  <a:moveTo>
                    <a:pt x="0" y="891306"/>
                  </a:moveTo>
                  <a:cubicBezTo>
                    <a:pt x="124742" y="1042097"/>
                    <a:pt x="180313" y="1188925"/>
                    <a:pt x="227051" y="1320850"/>
                  </a:cubicBezTo>
                  <a:cubicBezTo>
                    <a:pt x="283134" y="1440332"/>
                    <a:pt x="360533" y="1558830"/>
                    <a:pt x="462841" y="1707258"/>
                  </a:cubicBezTo>
                  <a:cubicBezTo>
                    <a:pt x="565096" y="1853074"/>
                    <a:pt x="560763" y="1906764"/>
                    <a:pt x="661537" y="2053119"/>
                  </a:cubicBezTo>
                  <a:cubicBezTo>
                    <a:pt x="864977" y="2059061"/>
                    <a:pt x="1062335" y="2054157"/>
                    <a:pt x="1358105" y="2058325"/>
                  </a:cubicBezTo>
                  <a:cubicBezTo>
                    <a:pt x="1487137" y="1727973"/>
                    <a:pt x="1516858" y="1179685"/>
                    <a:pt x="1516859" y="1069958"/>
                  </a:cubicBezTo>
                  <a:cubicBezTo>
                    <a:pt x="1522576" y="857179"/>
                    <a:pt x="1509640" y="720406"/>
                    <a:pt x="1464891" y="644162"/>
                  </a:cubicBezTo>
                  <a:cubicBezTo>
                    <a:pt x="1396021" y="572742"/>
                    <a:pt x="1370976" y="579197"/>
                    <a:pt x="1272486" y="612493"/>
                  </a:cubicBezTo>
                  <a:cubicBezTo>
                    <a:pt x="1306205" y="707004"/>
                    <a:pt x="1275123" y="829781"/>
                    <a:pt x="1264720" y="911472"/>
                  </a:cubicBezTo>
                  <a:cubicBezTo>
                    <a:pt x="1250153" y="907906"/>
                    <a:pt x="1292939" y="659594"/>
                    <a:pt x="1252622" y="600743"/>
                  </a:cubicBezTo>
                  <a:cubicBezTo>
                    <a:pt x="1202656" y="541892"/>
                    <a:pt x="1107533" y="508148"/>
                    <a:pt x="1022817" y="558366"/>
                  </a:cubicBezTo>
                  <a:cubicBezTo>
                    <a:pt x="1086811" y="668103"/>
                    <a:pt x="1058849" y="793697"/>
                    <a:pt x="1053082" y="887580"/>
                  </a:cubicBezTo>
                  <a:cubicBezTo>
                    <a:pt x="1041532" y="883386"/>
                    <a:pt x="1071753" y="653519"/>
                    <a:pt x="1001757" y="557324"/>
                  </a:cubicBezTo>
                  <a:cubicBezTo>
                    <a:pt x="946234" y="504548"/>
                    <a:pt x="915026" y="504758"/>
                    <a:pt x="806783" y="513030"/>
                  </a:cubicBezTo>
                  <a:cubicBezTo>
                    <a:pt x="816055" y="653003"/>
                    <a:pt x="822837" y="732256"/>
                    <a:pt x="810613" y="901237"/>
                  </a:cubicBezTo>
                  <a:cubicBezTo>
                    <a:pt x="782414" y="451352"/>
                    <a:pt x="784675" y="276900"/>
                    <a:pt x="778941" y="121917"/>
                  </a:cubicBezTo>
                  <a:cubicBezTo>
                    <a:pt x="774616" y="-32693"/>
                    <a:pt x="569584" y="-61779"/>
                    <a:pt x="582042" y="161731"/>
                  </a:cubicBezTo>
                  <a:cubicBezTo>
                    <a:pt x="570378" y="380417"/>
                    <a:pt x="623442" y="1132875"/>
                    <a:pt x="554580" y="1197645"/>
                  </a:cubicBezTo>
                  <a:cubicBezTo>
                    <a:pt x="495024" y="1230412"/>
                    <a:pt x="496393" y="1222363"/>
                    <a:pt x="419736" y="1153389"/>
                  </a:cubicBezTo>
                  <a:cubicBezTo>
                    <a:pt x="331744" y="1046414"/>
                    <a:pt x="197603" y="767201"/>
                    <a:pt x="0" y="891306"/>
                  </a:cubicBezTo>
                  <a:close/>
                </a:path>
              </a:pathLst>
            </a:custGeom>
            <a:solidFill>
              <a:srgbClr val="FAE5CA"/>
            </a:solidFill>
            <a:ln>
              <a:solidFill>
                <a:srgbClr val="D2A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64">
                <a:defRPr/>
              </a:pPr>
              <a:endParaRPr lang="ko-KR" altLang="en-US" sz="2701" dirty="0">
                <a:solidFill>
                  <a:srgbClr val="D2A000"/>
                </a:solidFill>
                <a:latin typeface="Arial"/>
                <a:ea typeface="Arial Unicode MS"/>
              </a:endParaRPr>
            </a:p>
          </p:txBody>
        </p:sp>
      </p:grpSp>
      <p:sp>
        <p:nvSpPr>
          <p:cNvPr id="73" name="Rectangle 72"/>
          <p:cNvSpPr/>
          <p:nvPr/>
        </p:nvSpPr>
        <p:spPr>
          <a:xfrm>
            <a:off x="950695" y="1424216"/>
            <a:ext cx="4216728" cy="407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14350"/>
            <a:r>
              <a:rPr lang="fr-FR" altLang="ko-KR" sz="2000" b="1" dirty="0" smtClean="0">
                <a:ea typeface="Arial Unicode MS"/>
              </a:rPr>
              <a:t>AVANTAGES DU NOUVEAU MODÈLE</a:t>
            </a:r>
            <a:endParaRPr lang="fr-FR" altLang="ko-KR" sz="2000" b="1" dirty="0">
              <a:ea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53125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39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22800" y="808027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altLang="ko-KR" sz="2800" b="1" dirty="0" smtClean="0">
                <a:solidFill>
                  <a:schemeClr val="bg1"/>
                </a:solidFill>
                <a:ea typeface="Arial Unicode MS"/>
              </a:rPr>
              <a:t>ÉCOSYSTÈME DIGITAL DE LA NARSA</a:t>
            </a:r>
            <a:endParaRPr lang="en-US" sz="2800" b="1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39</a:t>
            </a:fld>
            <a:endParaRPr lang="en-US" dirty="0"/>
          </a:p>
        </p:txBody>
      </p:sp>
      <p:grpSp>
        <p:nvGrpSpPr>
          <p:cNvPr id="74" name="그룹 7">
            <a:extLst>
              <a:ext uri="{FF2B5EF4-FFF2-40B4-BE49-F238E27FC236}">
                <a16:creationId xmlns:a16="http://schemas.microsoft.com/office/drawing/2014/main" id="{3FEECF8B-C94A-4409-A964-C899698A0D95}"/>
              </a:ext>
            </a:extLst>
          </p:cNvPr>
          <p:cNvGrpSpPr/>
          <p:nvPr/>
        </p:nvGrpSpPr>
        <p:grpSpPr>
          <a:xfrm>
            <a:off x="3367260" y="1399973"/>
            <a:ext cx="6745805" cy="2122997"/>
            <a:chOff x="906955" y="2215663"/>
            <a:chExt cx="4226410" cy="2830664"/>
          </a:xfrm>
        </p:grpSpPr>
        <p:sp>
          <p:nvSpPr>
            <p:cNvPr id="75" name="TextBox 3">
              <a:extLst>
                <a:ext uri="{FF2B5EF4-FFF2-40B4-BE49-F238E27FC236}">
                  <a16:creationId xmlns:a16="http://schemas.microsoft.com/office/drawing/2014/main" id="{053C2B99-CDBD-4807-AAE6-1C7E0F270436}"/>
                </a:ext>
              </a:extLst>
            </p:cNvPr>
            <p:cNvSpPr txBox="1"/>
            <p:nvPr/>
          </p:nvSpPr>
          <p:spPr>
            <a:xfrm>
              <a:off x="1007820" y="2953448"/>
              <a:ext cx="4125545" cy="2092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Couverture des événements : organisation et participation de la NARSA aux conférences, assemblé général, conseil d’administration,…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Publications des statistiques et chiffres officiels;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Actualités du domaine de la sécurité routière : achat de radars, …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Information RH: recrutement, formations, grèves,…</a:t>
              </a:r>
            </a:p>
          </p:txBody>
        </p:sp>
        <p:sp>
          <p:nvSpPr>
            <p:cNvPr id="76" name="TextBox 4">
              <a:extLst>
                <a:ext uri="{FF2B5EF4-FFF2-40B4-BE49-F238E27FC236}">
                  <a16:creationId xmlns:a16="http://schemas.microsoft.com/office/drawing/2014/main" id="{A9D87ECD-70AC-4992-A018-B6B84E36D405}"/>
                </a:ext>
              </a:extLst>
            </p:cNvPr>
            <p:cNvSpPr txBox="1"/>
            <p:nvPr/>
          </p:nvSpPr>
          <p:spPr>
            <a:xfrm>
              <a:off x="906955" y="2215663"/>
              <a:ext cx="3712016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altLang="ko-KR" sz="1600" b="1" dirty="0">
                  <a:solidFill>
                    <a:srgbClr val="4159A4"/>
                  </a:solidFill>
                  <a:latin typeface="+mj-lt"/>
                  <a:ea typeface="Arial Unicode MS"/>
                  <a:cs typeface="Calibri" pitchFamily="34" charset="0"/>
                </a:rPr>
                <a:t>www.narsa.ma</a:t>
              </a:r>
              <a:endParaRPr lang="ko-KR" altLang="en-US" sz="1600" b="1" dirty="0">
                <a:solidFill>
                  <a:srgbClr val="4159A4"/>
                </a:solidFill>
                <a:latin typeface="+mj-lt"/>
                <a:ea typeface="Arial Unicode MS"/>
                <a:cs typeface="Calibri" pitchFamily="34" charset="0"/>
              </a:endParaRPr>
            </a:p>
          </p:txBody>
        </p:sp>
        <p:cxnSp>
          <p:nvCxnSpPr>
            <p:cNvPr id="77" name="Straight Connector 5">
              <a:extLst>
                <a:ext uri="{FF2B5EF4-FFF2-40B4-BE49-F238E27FC236}">
                  <a16:creationId xmlns:a16="http://schemas.microsoft.com/office/drawing/2014/main" id="{F39EB35C-8C0B-42AF-A1A6-C09B07C82A81}"/>
                </a:ext>
              </a:extLst>
            </p:cNvPr>
            <p:cNvCxnSpPr/>
            <p:nvPr/>
          </p:nvCxnSpPr>
          <p:spPr>
            <a:xfrm>
              <a:off x="1086896" y="2781566"/>
              <a:ext cx="3744000" cy="0"/>
            </a:xfrm>
            <a:prstGeom prst="line">
              <a:avLst/>
            </a:prstGeom>
            <a:ln>
              <a:solidFill>
                <a:srgbClr val="FFE300"/>
              </a:solidFill>
              <a:headEnd type="none"/>
              <a:tailEnd type="oval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2" name="그룹 6">
            <a:extLst>
              <a:ext uri="{FF2B5EF4-FFF2-40B4-BE49-F238E27FC236}">
                <a16:creationId xmlns:a16="http://schemas.microsoft.com/office/drawing/2014/main" id="{CA8B4A9B-7A59-4A75-B7A5-3A068E650F27}"/>
              </a:ext>
            </a:extLst>
          </p:cNvPr>
          <p:cNvGrpSpPr/>
          <p:nvPr/>
        </p:nvGrpSpPr>
        <p:grpSpPr>
          <a:xfrm>
            <a:off x="5190460" y="4527422"/>
            <a:ext cx="5980241" cy="2194053"/>
            <a:chOff x="7558518" y="2187305"/>
            <a:chExt cx="3801344" cy="1443871"/>
          </a:xfrm>
        </p:grpSpPr>
        <p:sp>
          <p:nvSpPr>
            <p:cNvPr id="83" name="TextBox 11">
              <a:extLst>
                <a:ext uri="{FF2B5EF4-FFF2-40B4-BE49-F238E27FC236}">
                  <a16:creationId xmlns:a16="http://schemas.microsoft.com/office/drawing/2014/main" id="{DB91767F-183E-42EC-981F-D786131DD9B2}"/>
                </a:ext>
              </a:extLst>
            </p:cNvPr>
            <p:cNvSpPr txBox="1"/>
            <p:nvPr/>
          </p:nvSpPr>
          <p:spPr>
            <a:xfrm>
              <a:off x="7658851" y="2436173"/>
              <a:ext cx="3701011" cy="11950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44" indent="-285744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Éducation routière : outils pédagogiques </a:t>
              </a:r>
            </a:p>
            <a:p>
              <a:pPr marL="285744" indent="-285744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Sensibilisation aux dangers de la route ;</a:t>
              </a:r>
            </a:p>
            <a:p>
              <a:pPr marL="285744" indent="-285744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Rappels des règles de sécurité, des bons comportements à adopter sur la route du Code de la route,…</a:t>
              </a:r>
            </a:p>
            <a:p>
              <a:pPr marL="285744" indent="-285744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Couverture des événements liés aux actions d’éducation et prévention routière.</a:t>
              </a:r>
            </a:p>
          </p:txBody>
        </p:sp>
        <p:sp>
          <p:nvSpPr>
            <p:cNvPr id="84" name="TextBox 12">
              <a:extLst>
                <a:ext uri="{FF2B5EF4-FFF2-40B4-BE49-F238E27FC236}">
                  <a16:creationId xmlns:a16="http://schemas.microsoft.com/office/drawing/2014/main" id="{0DAD0DA0-65D8-4200-BD03-9C0F86B7651A}"/>
                </a:ext>
              </a:extLst>
            </p:cNvPr>
            <p:cNvSpPr txBox="1"/>
            <p:nvPr/>
          </p:nvSpPr>
          <p:spPr>
            <a:xfrm>
              <a:off x="7558518" y="2187305"/>
              <a:ext cx="3712014" cy="2227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685783"/>
              <a:r>
                <a:rPr lang="fr-FR" altLang="ko-KR" sz="1600" b="1" dirty="0">
                  <a:solidFill>
                    <a:srgbClr val="4159A4"/>
                  </a:solidFill>
                  <a:latin typeface="+mj-lt"/>
                  <a:ea typeface="맑은 고딕" panose="020B0503020000020004" pitchFamily="34" charset="-127"/>
                </a:rPr>
                <a:t>www.narsaprevention.ma</a:t>
              </a:r>
              <a:endParaRPr lang="ko-KR" altLang="en-US" sz="1600" b="1" dirty="0">
                <a:solidFill>
                  <a:srgbClr val="4159A4"/>
                </a:solidFill>
                <a:latin typeface="+mj-lt"/>
                <a:ea typeface="Arial Unicode MS"/>
              </a:endParaRPr>
            </a:p>
          </p:txBody>
        </p:sp>
      </p:grpSp>
      <p:grpSp>
        <p:nvGrpSpPr>
          <p:cNvPr id="85" name="그룹 7">
            <a:extLst>
              <a:ext uri="{FF2B5EF4-FFF2-40B4-BE49-F238E27FC236}">
                <a16:creationId xmlns:a16="http://schemas.microsoft.com/office/drawing/2014/main" id="{3FEECF8B-C94A-4409-A964-C899698A0D95}"/>
              </a:ext>
            </a:extLst>
          </p:cNvPr>
          <p:cNvGrpSpPr/>
          <p:nvPr/>
        </p:nvGrpSpPr>
        <p:grpSpPr>
          <a:xfrm>
            <a:off x="767181" y="3225145"/>
            <a:ext cx="6186513" cy="2236673"/>
            <a:chOff x="858419" y="2314463"/>
            <a:chExt cx="4303193" cy="2982228"/>
          </a:xfrm>
        </p:grpSpPr>
        <p:sp>
          <p:nvSpPr>
            <p:cNvPr id="86" name="TextBox 14">
              <a:extLst>
                <a:ext uri="{FF2B5EF4-FFF2-40B4-BE49-F238E27FC236}">
                  <a16:creationId xmlns:a16="http://schemas.microsoft.com/office/drawing/2014/main" id="{053C2B99-CDBD-4807-AAE6-1C7E0F270436}"/>
                </a:ext>
              </a:extLst>
            </p:cNvPr>
            <p:cNvSpPr txBox="1"/>
            <p:nvPr/>
          </p:nvSpPr>
          <p:spPr>
            <a:xfrm>
              <a:off x="906955" y="2875517"/>
              <a:ext cx="4254657" cy="24211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Reportages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Micros-trottoirs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Interviews avec des experts du domaine de la sécurité routière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Débats 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Flash-info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Dossiers spéciaux</a:t>
              </a:r>
            </a:p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endParaRPr lang="fr-FR" sz="160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7" name="TextBox 15">
              <a:extLst>
                <a:ext uri="{FF2B5EF4-FFF2-40B4-BE49-F238E27FC236}">
                  <a16:creationId xmlns:a16="http://schemas.microsoft.com/office/drawing/2014/main" id="{A9D87ECD-70AC-4992-A018-B6B84E36D405}"/>
                </a:ext>
              </a:extLst>
            </p:cNvPr>
            <p:cNvSpPr txBox="1"/>
            <p:nvPr/>
          </p:nvSpPr>
          <p:spPr>
            <a:xfrm>
              <a:off x="858419" y="2314463"/>
              <a:ext cx="3712016" cy="4514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/>
              <a:r>
                <a:rPr lang="en-US" altLang="ko-KR" sz="1600" b="1" dirty="0">
                  <a:solidFill>
                    <a:srgbClr val="4159A4"/>
                  </a:solidFill>
                  <a:latin typeface="+mj-lt"/>
                  <a:ea typeface="Arial Unicode MS"/>
                  <a:cs typeface="Calibri" pitchFamily="34" charset="0"/>
                </a:rPr>
                <a:t>www.narsatv.ma</a:t>
              </a:r>
              <a:endParaRPr lang="ko-KR" altLang="en-US" sz="1600" b="1" dirty="0">
                <a:solidFill>
                  <a:srgbClr val="4159A4"/>
                </a:solidFill>
                <a:latin typeface="+mj-lt"/>
                <a:ea typeface="Arial Unicode MS"/>
                <a:cs typeface="Calibri" pitchFamily="34" charset="0"/>
              </a:endParaRPr>
            </a:p>
          </p:txBody>
        </p:sp>
        <p:cxnSp>
          <p:nvCxnSpPr>
            <p:cNvPr id="88" name="Straight Connector 16">
              <a:extLst>
                <a:ext uri="{FF2B5EF4-FFF2-40B4-BE49-F238E27FC236}">
                  <a16:creationId xmlns:a16="http://schemas.microsoft.com/office/drawing/2014/main" id="{F39EB35C-8C0B-42AF-A1A6-C09B07C82A81}"/>
                </a:ext>
              </a:extLst>
            </p:cNvPr>
            <p:cNvCxnSpPr/>
            <p:nvPr/>
          </p:nvCxnSpPr>
          <p:spPr>
            <a:xfrm>
              <a:off x="906955" y="2783357"/>
              <a:ext cx="3744000" cy="0"/>
            </a:xfrm>
            <a:prstGeom prst="line">
              <a:avLst/>
            </a:prstGeom>
            <a:ln>
              <a:solidFill>
                <a:srgbClr val="FFE300"/>
              </a:solidFill>
              <a:headEnd type="none"/>
              <a:tailEnd type="oval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</p:grpSp>
      <p:cxnSp>
        <p:nvCxnSpPr>
          <p:cNvPr id="93" name="Straight Connector 22">
            <a:extLst>
              <a:ext uri="{FF2B5EF4-FFF2-40B4-BE49-F238E27FC236}">
                <a16:creationId xmlns:a16="http://schemas.microsoft.com/office/drawing/2014/main" id="{F39EB35C-8C0B-42AF-A1A6-C09B07C82A81}"/>
              </a:ext>
            </a:extLst>
          </p:cNvPr>
          <p:cNvCxnSpPr/>
          <p:nvPr/>
        </p:nvCxnSpPr>
        <p:spPr>
          <a:xfrm>
            <a:off x="5848604" y="4856371"/>
            <a:ext cx="4821795" cy="48149"/>
          </a:xfrm>
          <a:prstGeom prst="line">
            <a:avLst/>
          </a:prstGeom>
          <a:ln>
            <a:solidFill>
              <a:srgbClr val="FFE300"/>
            </a:solidFill>
            <a:headEnd type="none"/>
            <a:tailEnd type="oval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2252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943" y="72394"/>
            <a:ext cx="1767714" cy="71887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>
                <a:latin typeface="Garamond" panose="02020404030301010803" pitchFamily="18" charset="0"/>
              </a:rPr>
              <a:t>DOMAINES D’INTERVENTION DE LA NARSA</a:t>
            </a: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4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4</a:t>
            </a:fld>
            <a:endParaRPr lang="en-US"/>
          </a:p>
        </p:txBody>
      </p:sp>
      <p:grpSp>
        <p:nvGrpSpPr>
          <p:cNvPr id="23" name="Groupe 22">
            <a:extLst>
              <a:ext uri="{FF2B5EF4-FFF2-40B4-BE49-F238E27FC236}">
                <a16:creationId xmlns:a16="http://schemas.microsoft.com/office/drawing/2014/main" id="{48A81618-CD9A-4526-ACE0-D10A9962329E}"/>
              </a:ext>
            </a:extLst>
          </p:cNvPr>
          <p:cNvGrpSpPr>
            <a:grpSpLocks noChangeAspect="1"/>
          </p:cNvGrpSpPr>
          <p:nvPr/>
        </p:nvGrpSpPr>
        <p:grpSpPr>
          <a:xfrm>
            <a:off x="6377359" y="1380067"/>
            <a:ext cx="5536850" cy="5057097"/>
            <a:chOff x="2323391" y="1244241"/>
            <a:chExt cx="5172001" cy="4723866"/>
          </a:xfrm>
        </p:grpSpPr>
        <p:grpSp>
          <p:nvGrpSpPr>
            <p:cNvPr id="24" name="Groupe 23">
              <a:extLst>
                <a:ext uri="{FF2B5EF4-FFF2-40B4-BE49-F238E27FC236}">
                  <a16:creationId xmlns:a16="http://schemas.microsoft.com/office/drawing/2014/main" id="{1B45C9EA-AE29-4E9F-B292-F8C388D9B31F}"/>
                </a:ext>
              </a:extLst>
            </p:cNvPr>
            <p:cNvGrpSpPr/>
            <p:nvPr/>
          </p:nvGrpSpPr>
          <p:grpSpPr>
            <a:xfrm>
              <a:off x="2323391" y="1244241"/>
              <a:ext cx="5172001" cy="4723866"/>
              <a:chOff x="2368547" y="1417293"/>
              <a:chExt cx="5172001" cy="4723866"/>
            </a:xfrm>
          </p:grpSpPr>
          <p:grpSp>
            <p:nvGrpSpPr>
              <p:cNvPr id="32" name="Groupe 31">
                <a:extLst>
                  <a:ext uri="{FF2B5EF4-FFF2-40B4-BE49-F238E27FC236}">
                    <a16:creationId xmlns:a16="http://schemas.microsoft.com/office/drawing/2014/main" id="{3328B401-8E0F-420F-9BB6-A2E9E95D3F90}"/>
                  </a:ext>
                </a:extLst>
              </p:cNvPr>
              <p:cNvGrpSpPr/>
              <p:nvPr/>
            </p:nvGrpSpPr>
            <p:grpSpPr>
              <a:xfrm>
                <a:off x="2368547" y="1417293"/>
                <a:ext cx="5172001" cy="4716603"/>
                <a:chOff x="1998433" y="863656"/>
                <a:chExt cx="5172001" cy="4716603"/>
              </a:xfrm>
            </p:grpSpPr>
            <p:sp>
              <p:nvSpPr>
                <p:cNvPr id="34" name="Ellipse 33">
                  <a:extLst>
                    <a:ext uri="{FF2B5EF4-FFF2-40B4-BE49-F238E27FC236}">
                      <a16:creationId xmlns:a16="http://schemas.microsoft.com/office/drawing/2014/main" id="{8A6BEE7E-D508-44E7-9B24-67B264032B45}"/>
                    </a:ext>
                  </a:extLst>
                </p:cNvPr>
                <p:cNvSpPr/>
                <p:nvPr/>
              </p:nvSpPr>
              <p:spPr>
                <a:xfrm>
                  <a:off x="3535875" y="2693424"/>
                  <a:ext cx="2200083" cy="1189042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fr-FR" sz="1400" b="1" dirty="0">
                      <a:solidFill>
                        <a:schemeClr val="tx1"/>
                      </a:solidFill>
                      <a:latin typeface="Century Gothic" panose="020B0502020202020204" pitchFamily="34" charset="0"/>
                    </a:rPr>
                    <a:t>ATTRIBUTIONS NARSA</a:t>
                  </a:r>
                </a:p>
              </p:txBody>
            </p:sp>
            <p:grpSp>
              <p:nvGrpSpPr>
                <p:cNvPr id="35" name="Groupe 34">
                  <a:extLst>
                    <a:ext uri="{FF2B5EF4-FFF2-40B4-BE49-F238E27FC236}">
                      <a16:creationId xmlns:a16="http://schemas.microsoft.com/office/drawing/2014/main" id="{82A90074-C5A1-4ED9-9753-3E66B64583BB}"/>
                    </a:ext>
                  </a:extLst>
                </p:cNvPr>
                <p:cNvGrpSpPr/>
                <p:nvPr/>
              </p:nvGrpSpPr>
              <p:grpSpPr>
                <a:xfrm>
                  <a:off x="1998433" y="863656"/>
                  <a:ext cx="5172001" cy="4716603"/>
                  <a:chOff x="1998433" y="863656"/>
                  <a:chExt cx="5172001" cy="4716603"/>
                </a:xfrm>
              </p:grpSpPr>
              <p:grpSp>
                <p:nvGrpSpPr>
                  <p:cNvPr id="36" name="Groupe 35">
                    <a:extLst>
                      <a:ext uri="{FF2B5EF4-FFF2-40B4-BE49-F238E27FC236}">
                        <a16:creationId xmlns:a16="http://schemas.microsoft.com/office/drawing/2014/main" id="{D93EA037-1912-480C-B791-506D20E45F2F}"/>
                      </a:ext>
                    </a:extLst>
                  </p:cNvPr>
                  <p:cNvGrpSpPr/>
                  <p:nvPr/>
                </p:nvGrpSpPr>
                <p:grpSpPr>
                  <a:xfrm>
                    <a:off x="1998433" y="863656"/>
                    <a:ext cx="5172001" cy="4716603"/>
                    <a:chOff x="1998433" y="863656"/>
                    <a:chExt cx="5172001" cy="4716603"/>
                  </a:xfrm>
                </p:grpSpPr>
                <p:sp>
                  <p:nvSpPr>
                    <p:cNvPr id="38" name="Organigramme : Opération manuelle 37">
                      <a:extLst>
                        <a:ext uri="{FF2B5EF4-FFF2-40B4-BE49-F238E27FC236}">
                          <a16:creationId xmlns:a16="http://schemas.microsoft.com/office/drawing/2014/main" id="{8C9E3EDB-07B5-4834-B8CD-A679961AE8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4098470" y="863656"/>
                      <a:ext cx="947058" cy="1674106"/>
                    </a:xfrm>
                    <a:prstGeom prst="flowChartManualOperation">
                      <a:avLst/>
                    </a:prstGeom>
                    <a:solidFill>
                      <a:srgbClr val="0070C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2400" b="1" dirty="0">
                          <a:latin typeface="Century Gothic" panose="020B0502020202020204" pitchFamily="34" charset="0"/>
                        </a:rPr>
                        <a:t>1</a:t>
                      </a:r>
                    </a:p>
                  </p:txBody>
                </p:sp>
                <p:sp>
                  <p:nvSpPr>
                    <p:cNvPr id="39" name="Organigramme : Opération manuelle 38">
                      <a:extLst>
                        <a:ext uri="{FF2B5EF4-FFF2-40B4-BE49-F238E27FC236}">
                          <a16:creationId xmlns:a16="http://schemas.microsoft.com/office/drawing/2014/main" id="{F4F6337A-42C5-4383-B812-5420EDC53A65}"/>
                        </a:ext>
                      </a:extLst>
                    </p:cNvPr>
                    <p:cNvSpPr/>
                    <p:nvPr/>
                  </p:nvSpPr>
                  <p:spPr>
                    <a:xfrm rot="2587021">
                      <a:off x="5419020" y="1351135"/>
                      <a:ext cx="947058" cy="1674000"/>
                    </a:xfrm>
                    <a:prstGeom prst="flowChartManualOperation">
                      <a:avLst/>
                    </a:prstGeom>
                    <a:solidFill>
                      <a:schemeClr val="accent1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2400" b="1" dirty="0">
                          <a:latin typeface="Century Gothic" panose="020B0502020202020204" pitchFamily="34" charset="0"/>
                        </a:rPr>
                        <a:t>2</a:t>
                      </a:r>
                    </a:p>
                  </p:txBody>
                </p:sp>
                <p:sp>
                  <p:nvSpPr>
                    <p:cNvPr id="40" name="Organigramme : Opération manuelle 39">
                      <a:extLst>
                        <a:ext uri="{FF2B5EF4-FFF2-40B4-BE49-F238E27FC236}">
                          <a16:creationId xmlns:a16="http://schemas.microsoft.com/office/drawing/2014/main" id="{C7BB7B38-25D8-4D10-ABF8-26749942D069}"/>
                        </a:ext>
                      </a:extLst>
                    </p:cNvPr>
                    <p:cNvSpPr/>
                    <p:nvPr/>
                  </p:nvSpPr>
                  <p:spPr>
                    <a:xfrm rot="18540492">
                      <a:off x="2693937" y="1490732"/>
                      <a:ext cx="947058" cy="1674000"/>
                    </a:xfrm>
                    <a:prstGeom prst="flowChartManualOperation">
                      <a:avLst/>
                    </a:prstGeom>
                    <a:solidFill>
                      <a:schemeClr val="accent5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2400" b="1" dirty="0">
                          <a:latin typeface="Century Gothic" panose="020B0502020202020204" pitchFamily="34" charset="0"/>
                        </a:rPr>
                        <a:t>7</a:t>
                      </a:r>
                    </a:p>
                  </p:txBody>
                </p:sp>
                <p:grpSp>
                  <p:nvGrpSpPr>
                    <p:cNvPr id="41" name="Groupe 40">
                      <a:extLst>
                        <a:ext uri="{FF2B5EF4-FFF2-40B4-BE49-F238E27FC236}">
                          <a16:creationId xmlns:a16="http://schemas.microsoft.com/office/drawing/2014/main" id="{B901213A-6D2D-48BB-BF90-2459AFD7B377}"/>
                        </a:ext>
                      </a:extLst>
                    </p:cNvPr>
                    <p:cNvGrpSpPr/>
                    <p:nvPr/>
                  </p:nvGrpSpPr>
                  <p:grpSpPr>
                    <a:xfrm rot="919450" flipV="1">
                      <a:off x="1998433" y="3424857"/>
                      <a:ext cx="3943332" cy="2155402"/>
                      <a:chOff x="2497218" y="987879"/>
                      <a:chExt cx="3943332" cy="2155402"/>
                    </a:xfrm>
                  </p:grpSpPr>
                  <p:sp>
                    <p:nvSpPr>
                      <p:cNvPr id="54" name="Organigramme : Opération manuelle 53">
                        <a:extLst>
                          <a:ext uri="{FF2B5EF4-FFF2-40B4-BE49-F238E27FC236}">
                            <a16:creationId xmlns:a16="http://schemas.microsoft.com/office/drawing/2014/main" id="{CD205DFF-D816-4DA7-BDDE-F911A1E6A1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124840" y="987879"/>
                        <a:ext cx="947058" cy="1674000"/>
                      </a:xfrm>
                      <a:prstGeom prst="flowChartManualOperation">
                        <a:avLst/>
                      </a:prstGeom>
                      <a:solidFill>
                        <a:schemeClr val="accent2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fr-FR" sz="2400" b="1" dirty="0">
                            <a:latin typeface="Century Gothic" panose="020B0502020202020204" pitchFamily="34" charset="0"/>
                          </a:rPr>
                          <a:t>5</a:t>
                        </a:r>
                        <a:endParaRPr lang="fr-FR" sz="1600" b="1" dirty="0">
                          <a:latin typeface="Century Gothic" panose="020B0502020202020204" pitchFamily="34" charset="0"/>
                        </a:endParaRPr>
                      </a:p>
                    </p:txBody>
                  </p:sp>
                  <p:sp>
                    <p:nvSpPr>
                      <p:cNvPr id="55" name="Organigramme : Opération manuelle 54">
                        <a:extLst>
                          <a:ext uri="{FF2B5EF4-FFF2-40B4-BE49-F238E27FC236}">
                            <a16:creationId xmlns:a16="http://schemas.microsoft.com/office/drawing/2014/main" id="{DDCD15B0-2964-4F4B-B3C4-85A7A11CA4A0}"/>
                          </a:ext>
                        </a:extLst>
                      </p:cNvPr>
                      <p:cNvSpPr/>
                      <p:nvPr/>
                    </p:nvSpPr>
                    <p:spPr>
                      <a:xfrm rot="2587021">
                        <a:off x="5493492" y="1469281"/>
                        <a:ext cx="947058" cy="1674000"/>
                      </a:xfrm>
                      <a:prstGeom prst="flowChartManualOperation">
                        <a:avLst/>
                      </a:prstGeom>
                      <a:solidFill>
                        <a:schemeClr val="accent3">
                          <a:lumMod val="60000"/>
                          <a:lumOff val="4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fr-FR" sz="2400" b="1" dirty="0">
                            <a:latin typeface="Century Gothic" panose="020B0502020202020204" pitchFamily="34" charset="0"/>
                          </a:rPr>
                          <a:t>4</a:t>
                        </a:r>
                      </a:p>
                    </p:txBody>
                  </p:sp>
                  <p:sp>
                    <p:nvSpPr>
                      <p:cNvPr id="56" name="Organigramme : Opération manuelle 55">
                        <a:extLst>
                          <a:ext uri="{FF2B5EF4-FFF2-40B4-BE49-F238E27FC236}">
                            <a16:creationId xmlns:a16="http://schemas.microsoft.com/office/drawing/2014/main" id="{680D0B98-74C4-497D-A8CC-1CE874D09967}"/>
                          </a:ext>
                        </a:extLst>
                      </p:cNvPr>
                      <p:cNvSpPr/>
                      <p:nvPr/>
                    </p:nvSpPr>
                    <p:spPr>
                      <a:xfrm rot="18554868">
                        <a:off x="2860689" y="1556229"/>
                        <a:ext cx="947058" cy="1674000"/>
                      </a:xfrm>
                      <a:prstGeom prst="flowChartManualOperation">
                        <a:avLst/>
                      </a:prstGeom>
                      <a:solidFill>
                        <a:schemeClr val="accent4">
                          <a:lumMod val="75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r>
                          <a:rPr lang="fr-FR" sz="2400" b="1" dirty="0">
                            <a:latin typeface="Century Gothic" panose="020B0502020202020204" pitchFamily="34" charset="0"/>
                          </a:rPr>
                          <a:t>6</a:t>
                        </a:r>
                      </a:p>
                    </p:txBody>
                  </p:sp>
                </p:grpSp>
                <p:sp>
                  <p:nvSpPr>
                    <p:cNvPr id="53" name="Organigramme : Opération manuelle 52">
                      <a:extLst>
                        <a:ext uri="{FF2B5EF4-FFF2-40B4-BE49-F238E27FC236}">
                          <a16:creationId xmlns:a16="http://schemas.microsoft.com/office/drawing/2014/main" id="{8F8F15BD-477F-485A-993C-62DA80664D73}"/>
                        </a:ext>
                      </a:extLst>
                    </p:cNvPr>
                    <p:cNvSpPr/>
                    <p:nvPr/>
                  </p:nvSpPr>
                  <p:spPr>
                    <a:xfrm rot="6254276">
                      <a:off x="5859905" y="2809159"/>
                      <a:ext cx="947058" cy="1674000"/>
                    </a:xfrm>
                    <a:prstGeom prst="flowChartManualOperation">
                      <a:avLst/>
                    </a:prstGeom>
                    <a:solidFill>
                      <a:srgbClr val="FFC000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r>
                        <a:rPr lang="fr-FR" sz="2400" b="1" dirty="0">
                          <a:latin typeface="Century Gothic" panose="020B0502020202020204" pitchFamily="34" charset="0"/>
                        </a:rPr>
                        <a:t>3</a:t>
                      </a:r>
                      <a:endParaRPr lang="fr-FR" sz="1600" b="1" dirty="0">
                        <a:latin typeface="Century Gothic" panose="020B0502020202020204" pitchFamily="34" charset="0"/>
                      </a:endParaRPr>
                    </a:p>
                  </p:txBody>
                </p:sp>
              </p:grpSp>
              <p:sp>
                <p:nvSpPr>
                  <p:cNvPr id="37" name="Bouée 26">
                    <a:extLst>
                      <a:ext uri="{FF2B5EF4-FFF2-40B4-BE49-F238E27FC236}">
                        <a16:creationId xmlns:a16="http://schemas.microsoft.com/office/drawing/2014/main" id="{17271C94-F8F7-4C42-B3DA-3830E59478CA}"/>
                      </a:ext>
                    </a:extLst>
                  </p:cNvPr>
                  <p:cNvSpPr/>
                  <p:nvPr/>
                </p:nvSpPr>
                <p:spPr>
                  <a:xfrm>
                    <a:off x="3475093" y="2214327"/>
                    <a:ext cx="2283410" cy="2062059"/>
                  </a:xfrm>
                  <a:prstGeom prst="donut">
                    <a:avLst>
                      <a:gd name="adj" fmla="val 18168"/>
                    </a:avLst>
                  </a:prstGeom>
                  <a:solidFill>
                    <a:schemeClr val="bg1"/>
                  </a:solidFill>
                  <a:ln w="6350">
                    <a:solidFill>
                      <a:srgbClr val="FEE9AC"/>
                    </a:solidFill>
                    <a:prstDash val="dash"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fr-FR" sz="1600">
                      <a:solidFill>
                        <a:schemeClr val="tx1"/>
                      </a:solidFill>
                      <a:latin typeface="Century Gothic" panose="020B0502020202020204" pitchFamily="34" charset="0"/>
                    </a:endParaRPr>
                  </a:p>
                </p:txBody>
              </p:sp>
            </p:grpSp>
          </p:grpSp>
          <p:sp>
            <p:nvSpPr>
              <p:cNvPr id="33" name="Bouée 22">
                <a:extLst>
                  <a:ext uri="{FF2B5EF4-FFF2-40B4-BE49-F238E27FC236}">
                    <a16:creationId xmlns:a16="http://schemas.microsoft.com/office/drawing/2014/main" id="{1BFB07C7-1EEA-4ABA-B875-7E00197528EB}"/>
                  </a:ext>
                </a:extLst>
              </p:cNvPr>
              <p:cNvSpPr/>
              <p:nvPr/>
            </p:nvSpPr>
            <p:spPr>
              <a:xfrm>
                <a:off x="2449689" y="1501426"/>
                <a:ext cx="5057422" cy="4639733"/>
              </a:xfrm>
              <a:prstGeom prst="donut">
                <a:avLst>
                  <a:gd name="adj" fmla="val 8905"/>
                </a:avLst>
              </a:prstGeom>
              <a:solidFill>
                <a:schemeClr val="bg1"/>
              </a:solidFill>
              <a:ln>
                <a:solidFill>
                  <a:schemeClr val="accent3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>
                  <a:solidFill>
                    <a:schemeClr val="tx1"/>
                  </a:solidFill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25" name="ZoneTexte 24">
              <a:extLst>
                <a:ext uri="{FF2B5EF4-FFF2-40B4-BE49-F238E27FC236}">
                  <a16:creationId xmlns:a16="http://schemas.microsoft.com/office/drawing/2014/main" id="{1AD463BD-4401-4CDF-B425-BFF8DC6D8C40}"/>
                </a:ext>
              </a:extLst>
            </p:cNvPr>
            <p:cNvSpPr txBox="1"/>
            <p:nvPr/>
          </p:nvSpPr>
          <p:spPr>
            <a:xfrm>
              <a:off x="4172005" y="1315661"/>
              <a:ext cx="1481947" cy="503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Century Gothic" panose="020B0502020202020204" pitchFamily="34" charset="0"/>
                </a:rPr>
                <a:t>Gouvernance de SR </a:t>
              </a:r>
            </a:p>
          </p:txBody>
        </p:sp>
        <p:sp>
          <p:nvSpPr>
            <p:cNvPr id="26" name="ZoneTexte 25">
              <a:extLst>
                <a:ext uri="{FF2B5EF4-FFF2-40B4-BE49-F238E27FC236}">
                  <a16:creationId xmlns:a16="http://schemas.microsoft.com/office/drawing/2014/main" id="{8BDB9B00-A47A-4E65-BCCC-C8E4A98D97C5}"/>
                </a:ext>
              </a:extLst>
            </p:cNvPr>
            <p:cNvSpPr txBox="1"/>
            <p:nvPr/>
          </p:nvSpPr>
          <p:spPr>
            <a:xfrm rot="2574526">
              <a:off x="5685493" y="1927573"/>
              <a:ext cx="1765825" cy="503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Century Gothic" panose="020B0502020202020204" pitchFamily="34" charset="0"/>
                </a:rPr>
                <a:t>Expertise &amp; R &amp; Développement</a:t>
              </a:r>
            </a:p>
          </p:txBody>
        </p:sp>
        <p:sp>
          <p:nvSpPr>
            <p:cNvPr id="27" name="ZoneTexte 26">
              <a:extLst>
                <a:ext uri="{FF2B5EF4-FFF2-40B4-BE49-F238E27FC236}">
                  <a16:creationId xmlns:a16="http://schemas.microsoft.com/office/drawing/2014/main" id="{730051FB-EA41-4A8E-89C1-B561A3504C0D}"/>
                </a:ext>
              </a:extLst>
            </p:cNvPr>
            <p:cNvSpPr txBox="1"/>
            <p:nvPr/>
          </p:nvSpPr>
          <p:spPr>
            <a:xfrm rot="17241861">
              <a:off x="6405811" y="3883215"/>
              <a:ext cx="1512342" cy="503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Century Gothic" panose="020B0502020202020204" pitchFamily="34" charset="0"/>
                </a:rPr>
                <a:t>Contrôle &amp; sanctions</a:t>
              </a:r>
            </a:p>
          </p:txBody>
        </p:sp>
        <p:sp>
          <p:nvSpPr>
            <p:cNvPr id="28" name="ZoneTexte 27">
              <a:extLst>
                <a:ext uri="{FF2B5EF4-FFF2-40B4-BE49-F238E27FC236}">
                  <a16:creationId xmlns:a16="http://schemas.microsoft.com/office/drawing/2014/main" id="{B8326972-FBDD-4077-A81E-555A458C5389}"/>
                </a:ext>
              </a:extLst>
            </p:cNvPr>
            <p:cNvSpPr txBox="1"/>
            <p:nvPr/>
          </p:nvSpPr>
          <p:spPr>
            <a:xfrm rot="20116598">
              <a:off x="5264939" y="5242630"/>
              <a:ext cx="1527683" cy="503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Century Gothic" panose="020B0502020202020204" pitchFamily="34" charset="0"/>
                </a:rPr>
                <a:t>Partenariat &amp; projets</a:t>
              </a:r>
            </a:p>
          </p:txBody>
        </p:sp>
        <p:sp>
          <p:nvSpPr>
            <p:cNvPr id="29" name="ZoneTexte 28">
              <a:extLst>
                <a:ext uri="{FF2B5EF4-FFF2-40B4-BE49-F238E27FC236}">
                  <a16:creationId xmlns:a16="http://schemas.microsoft.com/office/drawing/2014/main" id="{C7971513-9DEA-4542-8CFF-C0F1BC6BB610}"/>
                </a:ext>
              </a:extLst>
            </p:cNvPr>
            <p:cNvSpPr txBox="1"/>
            <p:nvPr/>
          </p:nvSpPr>
          <p:spPr>
            <a:xfrm rot="881208">
              <a:off x="3452401" y="5377959"/>
              <a:ext cx="1527683" cy="503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Century Gothic" panose="020B0502020202020204" pitchFamily="34" charset="0"/>
                </a:rPr>
                <a:t>Education &amp; sensibilisation</a:t>
              </a:r>
            </a:p>
          </p:txBody>
        </p:sp>
        <p:sp>
          <p:nvSpPr>
            <p:cNvPr id="30" name="ZoneTexte 29">
              <a:extLst>
                <a:ext uri="{FF2B5EF4-FFF2-40B4-BE49-F238E27FC236}">
                  <a16:creationId xmlns:a16="http://schemas.microsoft.com/office/drawing/2014/main" id="{D14A333A-B222-47EF-B096-0932ACB63586}"/>
                </a:ext>
              </a:extLst>
            </p:cNvPr>
            <p:cNvSpPr txBox="1"/>
            <p:nvPr/>
          </p:nvSpPr>
          <p:spPr>
            <a:xfrm rot="3871335">
              <a:off x="2048283" y="4344319"/>
              <a:ext cx="1527683" cy="3021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Century Gothic" panose="020B0502020202020204" pitchFamily="34" charset="0"/>
                </a:rPr>
                <a:t>Permis &amp; CG</a:t>
              </a:r>
            </a:p>
          </p:txBody>
        </p:sp>
        <p:sp>
          <p:nvSpPr>
            <p:cNvPr id="31" name="ZoneTexte 30">
              <a:extLst>
                <a:ext uri="{FF2B5EF4-FFF2-40B4-BE49-F238E27FC236}">
                  <a16:creationId xmlns:a16="http://schemas.microsoft.com/office/drawing/2014/main" id="{3255B8E7-5B82-438C-9E38-F544EDBDFDC8}"/>
                </a:ext>
              </a:extLst>
            </p:cNvPr>
            <p:cNvSpPr txBox="1"/>
            <p:nvPr/>
          </p:nvSpPr>
          <p:spPr>
            <a:xfrm rot="18470494">
              <a:off x="2397373" y="2136863"/>
              <a:ext cx="1446171" cy="503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fr-FR" sz="1200" b="1" dirty="0">
                  <a:latin typeface="Century Gothic" panose="020B0502020202020204" pitchFamily="34" charset="0"/>
                </a:rPr>
                <a:t>Homologation &amp; CT</a:t>
              </a:r>
            </a:p>
          </p:txBody>
        </p:sp>
      </p:grpSp>
      <p:sp>
        <p:nvSpPr>
          <p:cNvPr id="57" name="Espace réservé du numéro de diapositive 1">
            <a:extLst>
              <a:ext uri="{FF2B5EF4-FFF2-40B4-BE49-F238E27FC236}">
                <a16:creationId xmlns:a16="http://schemas.microsoft.com/office/drawing/2014/main" id="{11B845AF-831F-4286-A553-8AF66F3A8C49}"/>
              </a:ext>
            </a:extLst>
          </p:cNvPr>
          <p:cNvSpPr txBox="1">
            <a:spLocks/>
          </p:cNvSpPr>
          <p:nvPr/>
        </p:nvSpPr>
        <p:spPr>
          <a:xfrm>
            <a:off x="8593666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098537B-3134-4043-B9D1-88E2ED42C5EC}" type="slidenum">
              <a:rPr lang="fr-FR" smtClean="0"/>
              <a:pPr/>
              <a:t>4</a:t>
            </a:fld>
            <a:endParaRPr lang="fr-FR"/>
          </a:p>
        </p:txBody>
      </p:sp>
      <p:sp>
        <p:nvSpPr>
          <p:cNvPr id="58" name="ZoneTexte 57"/>
          <p:cNvSpPr txBox="1"/>
          <p:nvPr/>
        </p:nvSpPr>
        <p:spPr>
          <a:xfrm>
            <a:off x="973209" y="1828529"/>
            <a:ext cx="518755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fr-FR" sz="2400" dirty="0" smtClean="0"/>
              <a:t>La NARSA: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fr-FR" sz="2400" dirty="0" smtClean="0"/>
              <a:t> </a:t>
            </a:r>
            <a:r>
              <a:rPr lang="fr-FR" sz="2400" dirty="0"/>
              <a:t>ambitionne de devenir l’agence leader en matière de sécurité routière dans notre pays avec une dimension internationale</a:t>
            </a:r>
            <a:r>
              <a:rPr lang="fr-FR" sz="2400" dirty="0" smtClean="0"/>
              <a:t>.</a:t>
            </a:r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endParaRPr lang="fr-FR" sz="2400" dirty="0" smtClean="0"/>
          </a:p>
          <a:p>
            <a:pPr marL="800100" lvl="1" indent="-342900" algn="just">
              <a:buFont typeface="Wingdings" panose="05000000000000000000" pitchFamily="2" charset="2"/>
              <a:buChar char="Ø"/>
            </a:pPr>
            <a:r>
              <a:rPr lang="fr-FR" sz="2400" dirty="0" smtClean="0"/>
              <a:t>vise </a:t>
            </a:r>
            <a:r>
              <a:rPr lang="fr-FR" sz="2400" dirty="0"/>
              <a:t>à instaurer un comportement routier citoyen, à assurer une organisation routière plus sûre et à améliorer la qualité des services rendus aux usagers de la </a:t>
            </a:r>
            <a:r>
              <a:rPr lang="fr-FR" sz="2400" dirty="0" smtClean="0"/>
              <a:t>route.</a:t>
            </a:r>
            <a:endParaRPr lang="fr-FR" sz="2400" dirty="0"/>
          </a:p>
        </p:txBody>
      </p:sp>
      <p:grpSp>
        <p:nvGrpSpPr>
          <p:cNvPr id="59" name="Groupe 58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432220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40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52" name="Rectangle 51"/>
          <p:cNvSpPr/>
          <p:nvPr/>
        </p:nvSpPr>
        <p:spPr>
          <a:xfrm>
            <a:off x="-1" y="767798"/>
            <a:ext cx="8856921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altLang="ko-KR" sz="2800" b="1" dirty="0" smtClean="0">
                <a:solidFill>
                  <a:schemeClr val="bg1"/>
                </a:solidFill>
                <a:ea typeface="Arial Unicode MS"/>
              </a:rPr>
              <a:t>ÉCOSYSTÈME DIGITAL DE LA NARSA</a:t>
            </a:r>
            <a:endParaRPr lang="en-US" sz="2800" b="1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38" name="Espace réservé du numéro de diapositive 45"/>
          <p:cNvSpPr>
            <a:spLocks noGrp="1"/>
          </p:cNvSpPr>
          <p:nvPr>
            <p:ph type="sldNum" sz="quarter" idx="12"/>
          </p:nvPr>
        </p:nvSpPr>
        <p:spPr>
          <a:xfrm>
            <a:off x="9064531" y="6252948"/>
            <a:ext cx="2743200" cy="365125"/>
          </a:xfrm>
        </p:spPr>
        <p:txBody>
          <a:bodyPr/>
          <a:lstStyle/>
          <a:p>
            <a:fld id="{CEE36FDE-51A7-4B0B-BB85-E626DBF2878C}" type="slidenum">
              <a:rPr lang="en-US" smtClean="0"/>
              <a:t>40</a:t>
            </a:fld>
            <a:endParaRPr lang="en-US" dirty="0"/>
          </a:p>
        </p:txBody>
      </p:sp>
      <p:grpSp>
        <p:nvGrpSpPr>
          <p:cNvPr id="78" name="그룹 7">
            <a:extLst>
              <a:ext uri="{FF2B5EF4-FFF2-40B4-BE49-F238E27FC236}">
                <a16:creationId xmlns:a16="http://schemas.microsoft.com/office/drawing/2014/main" id="{3FEECF8B-C94A-4409-A964-C899698A0D95}"/>
              </a:ext>
            </a:extLst>
          </p:cNvPr>
          <p:cNvGrpSpPr/>
          <p:nvPr/>
        </p:nvGrpSpPr>
        <p:grpSpPr>
          <a:xfrm>
            <a:off x="1115942" y="1760601"/>
            <a:ext cx="5500143" cy="1530061"/>
            <a:chOff x="6844462" y="-3075295"/>
            <a:chExt cx="3744000" cy="2161627"/>
          </a:xfrm>
        </p:grpSpPr>
        <p:sp>
          <p:nvSpPr>
            <p:cNvPr id="79" name="TextBox 7">
              <a:extLst>
                <a:ext uri="{FF2B5EF4-FFF2-40B4-BE49-F238E27FC236}">
                  <a16:creationId xmlns:a16="http://schemas.microsoft.com/office/drawing/2014/main" id="{053C2B99-CDBD-4807-AAE6-1C7E0F270436}"/>
                </a:ext>
              </a:extLst>
            </p:cNvPr>
            <p:cNvSpPr txBox="1"/>
            <p:nvPr/>
          </p:nvSpPr>
          <p:spPr>
            <a:xfrm>
              <a:off x="6849961" y="-2435531"/>
              <a:ext cx="3701011" cy="15218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Centraliser les différentes informations liées aux services proposés par l’agence : procédures à suivre, documents demandés, conditions, tarifs, formulaires, vidéos et visuels explicatifs,…</a:t>
              </a:r>
            </a:p>
          </p:txBody>
        </p:sp>
        <p:sp>
          <p:nvSpPr>
            <p:cNvPr id="80" name="TextBox 8">
              <a:extLst>
                <a:ext uri="{FF2B5EF4-FFF2-40B4-BE49-F238E27FC236}">
                  <a16:creationId xmlns:a16="http://schemas.microsoft.com/office/drawing/2014/main" id="{A9D87ECD-70AC-4992-A018-B6B84E36D405}"/>
                </a:ext>
              </a:extLst>
            </p:cNvPr>
            <p:cNvSpPr txBox="1"/>
            <p:nvPr/>
          </p:nvSpPr>
          <p:spPr>
            <a:xfrm>
              <a:off x="6844462" y="-3075295"/>
              <a:ext cx="3712016" cy="8261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altLang="ko-KR" sz="1600" b="1" dirty="0">
                  <a:solidFill>
                    <a:srgbClr val="224A90"/>
                  </a:solidFill>
                  <a:latin typeface="+mj-lt"/>
                  <a:ea typeface="맑은 고딕" panose="020B0503020000020004" pitchFamily="34" charset="-127"/>
                </a:rPr>
                <a:t>www.khadamatnarsa.ma</a:t>
              </a:r>
            </a:p>
            <a:p>
              <a:pPr algn="ctr" defTabSz="914377">
                <a:defRPr/>
              </a:pPr>
              <a:endParaRPr lang="ko-KR" altLang="en-US" sz="1600" b="1" dirty="0">
                <a:solidFill>
                  <a:srgbClr val="224A90"/>
                </a:solidFill>
                <a:latin typeface="+mj-lt"/>
                <a:ea typeface="맑은 고딕" panose="020B0503020000020004" pitchFamily="34" charset="-127"/>
              </a:endParaRPr>
            </a:p>
          </p:txBody>
        </p:sp>
        <p:cxnSp>
          <p:nvCxnSpPr>
            <p:cNvPr id="81" name="Straight Connector 9">
              <a:extLst>
                <a:ext uri="{FF2B5EF4-FFF2-40B4-BE49-F238E27FC236}">
                  <a16:creationId xmlns:a16="http://schemas.microsoft.com/office/drawing/2014/main" id="{F39EB35C-8C0B-42AF-A1A6-C09B07C82A81}"/>
                </a:ext>
              </a:extLst>
            </p:cNvPr>
            <p:cNvCxnSpPr/>
            <p:nvPr/>
          </p:nvCxnSpPr>
          <p:spPr>
            <a:xfrm>
              <a:off x="6844462" y="-2584151"/>
              <a:ext cx="3744000" cy="0"/>
            </a:xfrm>
            <a:prstGeom prst="line">
              <a:avLst/>
            </a:prstGeom>
            <a:ln>
              <a:solidFill>
                <a:srgbClr val="FFE300"/>
              </a:solidFill>
              <a:headEnd type="none"/>
              <a:tailEnd type="oval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grpSp>
        <p:nvGrpSpPr>
          <p:cNvPr id="89" name="그룹 7">
            <a:extLst>
              <a:ext uri="{FF2B5EF4-FFF2-40B4-BE49-F238E27FC236}">
                <a16:creationId xmlns:a16="http://schemas.microsoft.com/office/drawing/2014/main" id="{3FEECF8B-C94A-4409-A964-C899698A0D95}"/>
              </a:ext>
            </a:extLst>
          </p:cNvPr>
          <p:cNvGrpSpPr/>
          <p:nvPr/>
        </p:nvGrpSpPr>
        <p:grpSpPr>
          <a:xfrm>
            <a:off x="6280070" y="3530910"/>
            <a:ext cx="4821795" cy="1232716"/>
            <a:chOff x="890962" y="2048042"/>
            <a:chExt cx="3744001" cy="1741542"/>
          </a:xfrm>
        </p:grpSpPr>
        <p:sp>
          <p:nvSpPr>
            <p:cNvPr id="90" name="TextBox 19">
              <a:extLst>
                <a:ext uri="{FF2B5EF4-FFF2-40B4-BE49-F238E27FC236}">
                  <a16:creationId xmlns:a16="http://schemas.microsoft.com/office/drawing/2014/main" id="{053C2B99-CDBD-4807-AAE6-1C7E0F270436}"/>
                </a:ext>
              </a:extLst>
            </p:cNvPr>
            <p:cNvSpPr txBox="1"/>
            <p:nvPr/>
          </p:nvSpPr>
          <p:spPr>
            <a:xfrm>
              <a:off x="912455" y="2615578"/>
              <a:ext cx="3701011" cy="11740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46" indent="-171446" algn="just" defTabSz="914377">
                <a:buFont typeface="Wingdings" panose="05000000000000000000" pitchFamily="2" charset="2"/>
                <a:buChar char="ü"/>
              </a:pPr>
              <a:r>
                <a:rPr lang="fr-FR" sz="1600" dirty="0">
                  <a:solidFill>
                    <a:prstClr val="black"/>
                  </a:solidFill>
                  <a:latin typeface="+mj-lt"/>
                </a:rPr>
                <a:t>Mettre les usages en lien direct avec les responsables de la NARSA afin de répondre à leur demandes et raccourcir les délais de réponse.</a:t>
              </a:r>
            </a:p>
          </p:txBody>
        </p:sp>
        <p:sp>
          <p:nvSpPr>
            <p:cNvPr id="91" name="TextBox 20">
              <a:extLst>
                <a:ext uri="{FF2B5EF4-FFF2-40B4-BE49-F238E27FC236}">
                  <a16:creationId xmlns:a16="http://schemas.microsoft.com/office/drawing/2014/main" id="{A9D87ECD-70AC-4992-A018-B6B84E36D405}"/>
                </a:ext>
              </a:extLst>
            </p:cNvPr>
            <p:cNvSpPr txBox="1"/>
            <p:nvPr/>
          </p:nvSpPr>
          <p:spPr>
            <a:xfrm>
              <a:off x="906956" y="2048042"/>
              <a:ext cx="3712017" cy="8261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914377">
                <a:defRPr/>
              </a:pPr>
              <a:r>
                <a:rPr lang="en-US" altLang="ko-KR" sz="1600" b="1" dirty="0">
                  <a:solidFill>
                    <a:srgbClr val="224A90"/>
                  </a:solidFill>
                  <a:latin typeface="+mj-lt"/>
                  <a:ea typeface="맑은 고딕" panose="020B0503020000020004" pitchFamily="34" charset="-127"/>
                </a:rPr>
                <a:t>www.asknarsa.ma </a:t>
              </a:r>
            </a:p>
            <a:p>
              <a:pPr algn="ctr" defTabSz="914377">
                <a:defRPr/>
              </a:pPr>
              <a:endParaRPr lang="ko-KR" altLang="en-US" sz="1600" b="1" dirty="0">
                <a:solidFill>
                  <a:srgbClr val="224A90"/>
                </a:solidFill>
                <a:latin typeface="+mj-lt"/>
                <a:ea typeface="맑은 고딕" panose="020B0503020000020004" pitchFamily="34" charset="-127"/>
              </a:endParaRPr>
            </a:p>
          </p:txBody>
        </p:sp>
        <p:cxnSp>
          <p:nvCxnSpPr>
            <p:cNvPr id="92" name="Straight Connector 21">
              <a:extLst>
                <a:ext uri="{FF2B5EF4-FFF2-40B4-BE49-F238E27FC236}">
                  <a16:creationId xmlns:a16="http://schemas.microsoft.com/office/drawing/2014/main" id="{F39EB35C-8C0B-42AF-A1A6-C09B07C82A81}"/>
                </a:ext>
              </a:extLst>
            </p:cNvPr>
            <p:cNvCxnSpPr/>
            <p:nvPr/>
          </p:nvCxnSpPr>
          <p:spPr>
            <a:xfrm>
              <a:off x="890962" y="2539188"/>
              <a:ext cx="3744001" cy="0"/>
            </a:xfrm>
            <a:prstGeom prst="line">
              <a:avLst/>
            </a:prstGeom>
            <a:ln>
              <a:solidFill>
                <a:srgbClr val="FFE300"/>
              </a:solidFill>
              <a:headEnd type="none"/>
              <a:tailEnd type="oval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  <p:pic>
        <p:nvPicPr>
          <p:cNvPr id="39" name="Picture 2" descr="Facebook - Connexion ou inscription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7414" y="3663488"/>
            <a:ext cx="606056" cy="606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Télécharger Youtube (gratuit) sur iPhone et Android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3770" y="4451693"/>
            <a:ext cx="665412" cy="665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2747" y="5248426"/>
            <a:ext cx="699472" cy="698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Espace réservé du contenu 3"/>
          <p:cNvPicPr>
            <a:picLocks noGrp="1" noChangeAspect="1"/>
          </p:cNvPicPr>
          <p:nvPr>
            <p:ph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3853" y="5628691"/>
            <a:ext cx="1212433" cy="806819"/>
          </a:xfrm>
        </p:spPr>
      </p:pic>
    </p:spTree>
    <p:extLst>
      <p:ext uri="{BB962C8B-B14F-4D97-AF65-F5344CB8AC3E}">
        <p14:creationId xmlns:p14="http://schemas.microsoft.com/office/powerpoint/2010/main" val="1704972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065157" y="2275634"/>
            <a:ext cx="9109662" cy="2136877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4800" b="1" dirty="0" smtClean="0">
                <a:latin typeface="Garamond" panose="02020404030301010803" pitchFamily="18" charset="0"/>
              </a:rPr>
              <a:t>MERCI POUR VOTRE ATTENTION</a:t>
            </a:r>
            <a:endParaRPr lang="en-US" sz="4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41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41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72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AXES STRATEGIQUES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5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143A7A1A-1F1A-4FDE-B201-2D0BB304C0D8}"/>
              </a:ext>
            </a:extLst>
          </p:cNvPr>
          <p:cNvSpPr/>
          <p:nvPr/>
        </p:nvSpPr>
        <p:spPr>
          <a:xfrm>
            <a:off x="1839015" y="1817906"/>
            <a:ext cx="3240000" cy="22680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1039"/>
              </a:spcAft>
              <a:defRPr/>
            </a:pPr>
            <a:r>
              <a:rPr lang="fr-FR" sz="2078" b="1" u="sng" cap="all" dirty="0">
                <a:solidFill>
                  <a:schemeClr val="tx1"/>
                </a:solidFill>
              </a:rPr>
              <a:t>AXE 1</a:t>
            </a:r>
            <a:endParaRPr lang="ar-MA" sz="2078" b="1" u="sng" cap="all" dirty="0">
              <a:solidFill>
                <a:schemeClr val="tx1"/>
              </a:solidFill>
            </a:endParaRPr>
          </a:p>
          <a:p>
            <a:pPr algn="ctr" rtl="1">
              <a:lnSpc>
                <a:spcPct val="150000"/>
              </a:lnSpc>
              <a:spcAft>
                <a:spcPts val="1039"/>
              </a:spcAft>
              <a:defRPr/>
            </a:pPr>
            <a:r>
              <a:rPr lang="fr-FR" sz="1600" b="1" cap="all" dirty="0">
                <a:solidFill>
                  <a:schemeClr val="tx1"/>
                </a:solidFill>
              </a:rPr>
              <a:t>Contribuer à l’amélioration de la sécurité routièr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6F798EB-B624-4AE6-8EE4-BB34474A5A72}"/>
              </a:ext>
            </a:extLst>
          </p:cNvPr>
          <p:cNvSpPr/>
          <p:nvPr/>
        </p:nvSpPr>
        <p:spPr>
          <a:xfrm>
            <a:off x="7663242" y="1817906"/>
            <a:ext cx="3240000" cy="2268000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Aft>
                <a:spcPts val="1039"/>
              </a:spcAft>
              <a:defRPr/>
            </a:pPr>
            <a:r>
              <a:rPr lang="fr-FR" sz="2078" b="1" u="sng" cap="all" dirty="0">
                <a:solidFill>
                  <a:schemeClr val="tx1"/>
                </a:solidFill>
              </a:rPr>
              <a:t>AXE 2</a:t>
            </a:r>
            <a:endParaRPr lang="ar-MA" sz="2078" b="1" u="sng" cap="all" dirty="0">
              <a:solidFill>
                <a:schemeClr val="tx1"/>
              </a:solidFill>
            </a:endParaRPr>
          </a:p>
          <a:p>
            <a:pPr algn="ctr" rtl="1">
              <a:lnSpc>
                <a:spcPct val="150000"/>
              </a:lnSpc>
              <a:spcAft>
                <a:spcPts val="1039"/>
              </a:spcAft>
              <a:defRPr/>
            </a:pPr>
            <a:r>
              <a:rPr lang="fr-FR" sz="1600" b="1" cap="all" dirty="0">
                <a:solidFill>
                  <a:schemeClr val="tx1"/>
                </a:solidFill>
              </a:rPr>
              <a:t>Améliorer LA QUALITE des services RENDUS AUX CITOYENS ET AUX USAGERS</a:t>
            </a:r>
            <a:endParaRPr lang="ar-MA" sz="1600" b="1" cap="all" dirty="0">
              <a:solidFill>
                <a:schemeClr val="tx1"/>
              </a:solidFill>
            </a:endParaRPr>
          </a:p>
        </p:txBody>
      </p:sp>
      <p:sp>
        <p:nvSpPr>
          <p:cNvPr id="44" name="Triangle isocèle 43">
            <a:extLst>
              <a:ext uri="{FF2B5EF4-FFF2-40B4-BE49-F238E27FC236}">
                <a16:creationId xmlns:a16="http://schemas.microsoft.com/office/drawing/2014/main" id="{62CF357A-08BC-4921-9271-55AD25E71D6D}"/>
              </a:ext>
            </a:extLst>
          </p:cNvPr>
          <p:cNvSpPr/>
          <p:nvPr/>
        </p:nvSpPr>
        <p:spPr>
          <a:xfrm rot="16200000">
            <a:off x="5316143" y="2819347"/>
            <a:ext cx="1836000" cy="252000"/>
          </a:xfrm>
          <a:prstGeom prst="triangle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559" dirty="0">
              <a:solidFill>
                <a:srgbClr val="2F5597"/>
              </a:solidFill>
            </a:endParaRPr>
          </a:p>
        </p:txBody>
      </p:sp>
      <p:sp>
        <p:nvSpPr>
          <p:cNvPr id="45" name="Triangle isocèle 44">
            <a:extLst>
              <a:ext uri="{FF2B5EF4-FFF2-40B4-BE49-F238E27FC236}">
                <a16:creationId xmlns:a16="http://schemas.microsoft.com/office/drawing/2014/main" id="{F193D9A6-B160-4D51-ACEA-9BE7D4AA6828}"/>
              </a:ext>
            </a:extLst>
          </p:cNvPr>
          <p:cNvSpPr/>
          <p:nvPr/>
        </p:nvSpPr>
        <p:spPr>
          <a:xfrm rot="5400000">
            <a:off x="5684296" y="2829847"/>
            <a:ext cx="1836000" cy="252000"/>
          </a:xfrm>
          <a:prstGeom prst="triangle">
            <a:avLst/>
          </a:prstGeom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 sz="1559" dirty="0">
              <a:solidFill>
                <a:srgbClr val="2F5597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5496B542-41EB-422D-91E5-7F0EE02DA436}"/>
              </a:ext>
            </a:extLst>
          </p:cNvPr>
          <p:cNvSpPr/>
          <p:nvPr/>
        </p:nvSpPr>
        <p:spPr>
          <a:xfrm>
            <a:off x="6561385" y="4181176"/>
            <a:ext cx="5443714" cy="1785104"/>
          </a:xfrm>
          <a:prstGeom prst="rect">
            <a:avLst/>
          </a:prstGeom>
          <a:ln>
            <a:solidFill>
              <a:srgbClr val="5A93B6"/>
            </a:solidFill>
            <a:prstDash val="sysDash"/>
          </a:ln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implification des procédures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ématérialisation des procédures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igitalisation des services et réussir la transformation digitale de la NARSA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enforcer les services de proximité pour les citoyens.</a:t>
            </a:r>
          </a:p>
        </p:txBody>
      </p:sp>
      <p:sp>
        <p:nvSpPr>
          <p:cNvPr id="48" name="Flèche : virage 1">
            <a:extLst>
              <a:ext uri="{FF2B5EF4-FFF2-40B4-BE49-F238E27FC236}">
                <a16:creationId xmlns:a16="http://schemas.microsoft.com/office/drawing/2014/main" id="{942C7653-6E4B-4864-B6CB-AA9A47C55B6D}"/>
              </a:ext>
            </a:extLst>
          </p:cNvPr>
          <p:cNvSpPr/>
          <p:nvPr/>
        </p:nvSpPr>
        <p:spPr>
          <a:xfrm rot="5400000">
            <a:off x="10718690" y="3033731"/>
            <a:ext cx="1296000" cy="900000"/>
          </a:xfrm>
          <a:prstGeom prst="bentArrow">
            <a:avLst>
              <a:gd name="adj1" fmla="val 25000"/>
              <a:gd name="adj2" fmla="val 18151"/>
              <a:gd name="adj3" fmla="val 25000"/>
              <a:gd name="adj4" fmla="val 4375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49" name="Flèche : virage 24">
            <a:extLst>
              <a:ext uri="{FF2B5EF4-FFF2-40B4-BE49-F238E27FC236}">
                <a16:creationId xmlns:a16="http://schemas.microsoft.com/office/drawing/2014/main" id="{847819E6-80C6-4367-AE1B-60563B2FDFFA}"/>
              </a:ext>
            </a:extLst>
          </p:cNvPr>
          <p:cNvSpPr/>
          <p:nvPr/>
        </p:nvSpPr>
        <p:spPr>
          <a:xfrm rot="5400000" flipV="1">
            <a:off x="6538938" y="3036231"/>
            <a:ext cx="1296000" cy="900000"/>
          </a:xfrm>
          <a:prstGeom prst="bentArrow">
            <a:avLst>
              <a:gd name="adj1" fmla="val 25000"/>
              <a:gd name="adj2" fmla="val 18151"/>
              <a:gd name="adj3" fmla="val 25000"/>
              <a:gd name="adj4" fmla="val 4375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6957526-6754-4C24-953B-5E8094B30777}"/>
              </a:ext>
            </a:extLst>
          </p:cNvPr>
          <p:cNvSpPr/>
          <p:nvPr/>
        </p:nvSpPr>
        <p:spPr>
          <a:xfrm>
            <a:off x="747705" y="4168686"/>
            <a:ext cx="5443714" cy="1877437"/>
          </a:xfrm>
          <a:prstGeom prst="rect">
            <a:avLst/>
          </a:prstGeom>
          <a:ln>
            <a:solidFill>
              <a:srgbClr val="5A93B6"/>
            </a:solidFill>
            <a:prstDash val="sysDash"/>
          </a:ln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éussir les projets de sécurité routière propres à la NARSA tels que fixés par la stratégie nationale de la sécurité routière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ccompagner et assister les partenaires de la sécurité routière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ssurer la coordination des efforts. </a:t>
            </a:r>
          </a:p>
        </p:txBody>
      </p:sp>
      <p:sp>
        <p:nvSpPr>
          <p:cNvPr id="51" name="Flèche : virage 26">
            <a:extLst>
              <a:ext uri="{FF2B5EF4-FFF2-40B4-BE49-F238E27FC236}">
                <a16:creationId xmlns:a16="http://schemas.microsoft.com/office/drawing/2014/main" id="{CEF0764D-2FE4-41E9-9684-84D22BD2044F}"/>
              </a:ext>
            </a:extLst>
          </p:cNvPr>
          <p:cNvSpPr/>
          <p:nvPr/>
        </p:nvSpPr>
        <p:spPr>
          <a:xfrm rot="5400000">
            <a:off x="4905010" y="3021241"/>
            <a:ext cx="1296000" cy="900000"/>
          </a:xfrm>
          <a:prstGeom prst="bentArrow">
            <a:avLst>
              <a:gd name="adj1" fmla="val 25000"/>
              <a:gd name="adj2" fmla="val 18151"/>
              <a:gd name="adj3" fmla="val 25000"/>
              <a:gd name="adj4" fmla="val 4375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52" name="Flèche : virage 27">
            <a:extLst>
              <a:ext uri="{FF2B5EF4-FFF2-40B4-BE49-F238E27FC236}">
                <a16:creationId xmlns:a16="http://schemas.microsoft.com/office/drawing/2014/main" id="{A917C153-083C-4340-A120-920EC66EA678}"/>
              </a:ext>
            </a:extLst>
          </p:cNvPr>
          <p:cNvSpPr/>
          <p:nvPr/>
        </p:nvSpPr>
        <p:spPr>
          <a:xfrm rot="5400000" flipV="1">
            <a:off x="725258" y="3023741"/>
            <a:ext cx="1296000" cy="900000"/>
          </a:xfrm>
          <a:prstGeom prst="bentArrow">
            <a:avLst>
              <a:gd name="adj1" fmla="val 25000"/>
              <a:gd name="adj2" fmla="val 18151"/>
              <a:gd name="adj3" fmla="val 25000"/>
              <a:gd name="adj4" fmla="val 4375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pic>
        <p:nvPicPr>
          <p:cNvPr id="23" name="Image 2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grpSp>
        <p:nvGrpSpPr>
          <p:cNvPr id="24" name="Groupe 23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261045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 smtClean="0">
                <a:latin typeface="Garamond" panose="02020404030301010803" pitchFamily="18" charset="0"/>
              </a:rPr>
              <a:t>VISION STRATEGIQUE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6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8F4F577-AF6D-4234-B4EF-CEDE20DC00B7}"/>
              </a:ext>
            </a:extLst>
          </p:cNvPr>
          <p:cNvSpPr/>
          <p:nvPr/>
        </p:nvSpPr>
        <p:spPr>
          <a:xfrm>
            <a:off x="1554542" y="2781035"/>
            <a:ext cx="8946002" cy="2277547"/>
          </a:xfrm>
          <a:prstGeom prst="rect">
            <a:avLst/>
          </a:prstGeom>
          <a:ln>
            <a:solidFill>
              <a:srgbClr val="5A93B6"/>
            </a:solidFill>
            <a:prstDash val="sysDash"/>
          </a:ln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b="1" dirty="0">
                <a:latin typeface="Garamond" panose="02020404030301010803" pitchFamily="18" charset="0"/>
                <a:cs typeface="Times New Roman" panose="02020603050405020304" pitchFamily="18" charset="0"/>
              </a:rPr>
              <a:t>Simplification des procédures conformément aux disposition de la loi 55-19 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b="1" dirty="0">
                <a:latin typeface="Garamond" panose="02020404030301010803" pitchFamily="18" charset="0"/>
                <a:cs typeface="Times New Roman" panose="02020603050405020304" pitchFamily="18" charset="0"/>
              </a:rPr>
              <a:t>Dématérialisation des procédures pour fiabiliser, crédibiliser et assurer la célérité, la transparence et l’équité dans la mise à disposition du service public 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b="1" dirty="0">
                <a:latin typeface="Garamond" panose="02020404030301010803" pitchFamily="18" charset="0"/>
                <a:cs typeface="Times New Roman" panose="02020603050405020304" pitchFamily="18" charset="0"/>
              </a:rPr>
              <a:t>Digitalisation des services et réussir la transformation digitale de la NARSA pour renforcer l’accessibilité et la proximité du service public ;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sz="1600" b="1" dirty="0">
                <a:latin typeface="Garamond" panose="02020404030301010803" pitchFamily="18" charset="0"/>
                <a:cs typeface="Times New Roman" panose="02020603050405020304" pitchFamily="18" charset="0"/>
              </a:rPr>
              <a:t>Renforcer les services de proximité pour les citoyens par la multiplicité des points de contact Administration / Usagers.</a:t>
            </a:r>
          </a:p>
        </p:txBody>
      </p:sp>
      <p:sp>
        <p:nvSpPr>
          <p:cNvPr id="19" name="Rectangle : coins arrondis 17">
            <a:extLst>
              <a:ext uri="{FF2B5EF4-FFF2-40B4-BE49-F238E27FC236}">
                <a16:creationId xmlns:a16="http://schemas.microsoft.com/office/drawing/2014/main" id="{9BE18B52-7521-46D0-A339-0FBA548087F3}"/>
              </a:ext>
            </a:extLst>
          </p:cNvPr>
          <p:cNvSpPr/>
          <p:nvPr/>
        </p:nvSpPr>
        <p:spPr>
          <a:xfrm>
            <a:off x="8573497" y="1722805"/>
            <a:ext cx="2143183" cy="47090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Garamond" panose="02020404030301010803" pitchFamily="18" charset="0"/>
              </a:rPr>
              <a:t>CÉLÉRITÉ</a:t>
            </a:r>
          </a:p>
        </p:txBody>
      </p:sp>
      <p:sp>
        <p:nvSpPr>
          <p:cNvPr id="20" name="Rectangle : coins arrondis 18">
            <a:extLst>
              <a:ext uri="{FF2B5EF4-FFF2-40B4-BE49-F238E27FC236}">
                <a16:creationId xmlns:a16="http://schemas.microsoft.com/office/drawing/2014/main" id="{D8BE04CC-1431-41D6-8EDF-7EFA9EE3FADF}"/>
              </a:ext>
            </a:extLst>
          </p:cNvPr>
          <p:cNvSpPr/>
          <p:nvPr/>
        </p:nvSpPr>
        <p:spPr>
          <a:xfrm>
            <a:off x="1409371" y="1730913"/>
            <a:ext cx="2143183" cy="47090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Garamond" panose="02020404030301010803" pitchFamily="18" charset="0"/>
              </a:rPr>
              <a:t>EQUITÉ</a:t>
            </a:r>
          </a:p>
        </p:txBody>
      </p:sp>
      <p:sp>
        <p:nvSpPr>
          <p:cNvPr id="21" name="Rectangle : coins arrondis 19">
            <a:extLst>
              <a:ext uri="{FF2B5EF4-FFF2-40B4-BE49-F238E27FC236}">
                <a16:creationId xmlns:a16="http://schemas.microsoft.com/office/drawing/2014/main" id="{16A5B4C0-A190-4EB4-A585-79EC0CAE4EE0}"/>
              </a:ext>
            </a:extLst>
          </p:cNvPr>
          <p:cNvSpPr/>
          <p:nvPr/>
        </p:nvSpPr>
        <p:spPr>
          <a:xfrm>
            <a:off x="3833709" y="1725459"/>
            <a:ext cx="2143183" cy="47090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Garamond" panose="02020404030301010803" pitchFamily="18" charset="0"/>
              </a:rPr>
              <a:t>TRANSPARENCE</a:t>
            </a:r>
          </a:p>
        </p:txBody>
      </p:sp>
      <p:sp>
        <p:nvSpPr>
          <p:cNvPr id="23" name="Rectangle : coins arrondis 20">
            <a:extLst>
              <a:ext uri="{FF2B5EF4-FFF2-40B4-BE49-F238E27FC236}">
                <a16:creationId xmlns:a16="http://schemas.microsoft.com/office/drawing/2014/main" id="{81B5A7B1-DC09-4235-AF3F-8CEAFAC75B5E}"/>
              </a:ext>
            </a:extLst>
          </p:cNvPr>
          <p:cNvSpPr/>
          <p:nvPr/>
        </p:nvSpPr>
        <p:spPr>
          <a:xfrm>
            <a:off x="6258047" y="1728203"/>
            <a:ext cx="2143183" cy="470902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Garamond" panose="02020404030301010803" pitchFamily="18" charset="0"/>
              </a:rPr>
              <a:t>PROXIMITÉ</a:t>
            </a:r>
          </a:p>
        </p:txBody>
      </p:sp>
      <p:sp>
        <p:nvSpPr>
          <p:cNvPr id="24" name="Flèche : bas 2">
            <a:extLst>
              <a:ext uri="{FF2B5EF4-FFF2-40B4-BE49-F238E27FC236}">
                <a16:creationId xmlns:a16="http://schemas.microsoft.com/office/drawing/2014/main" id="{4C6EE2CE-BF2E-45FB-BEBA-0D395F925A35}"/>
              </a:ext>
            </a:extLst>
          </p:cNvPr>
          <p:cNvSpPr/>
          <p:nvPr/>
        </p:nvSpPr>
        <p:spPr>
          <a:xfrm>
            <a:off x="4455944" y="2197351"/>
            <a:ext cx="839450" cy="586337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latin typeface="Garamond" panose="02020404030301010803" pitchFamily="18" charset="0"/>
            </a:endParaRPr>
          </a:p>
        </p:txBody>
      </p:sp>
      <p:sp>
        <p:nvSpPr>
          <p:cNvPr id="25" name="Flèche : bas 21">
            <a:extLst>
              <a:ext uri="{FF2B5EF4-FFF2-40B4-BE49-F238E27FC236}">
                <a16:creationId xmlns:a16="http://schemas.microsoft.com/office/drawing/2014/main" id="{FACEA163-F643-4167-8CD1-23AF2114E352}"/>
              </a:ext>
            </a:extLst>
          </p:cNvPr>
          <p:cNvSpPr/>
          <p:nvPr/>
        </p:nvSpPr>
        <p:spPr>
          <a:xfrm>
            <a:off x="6804818" y="2197351"/>
            <a:ext cx="839450" cy="589081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latin typeface="Garamond" panose="02020404030301010803" pitchFamily="18" charset="0"/>
            </a:endParaRPr>
          </a:p>
        </p:txBody>
      </p:sp>
      <p:sp>
        <p:nvSpPr>
          <p:cNvPr id="26" name="Flèche : bas 22">
            <a:extLst>
              <a:ext uri="{FF2B5EF4-FFF2-40B4-BE49-F238E27FC236}">
                <a16:creationId xmlns:a16="http://schemas.microsoft.com/office/drawing/2014/main" id="{8FC1C025-0778-4E5D-8072-2AE3B95F655F}"/>
              </a:ext>
            </a:extLst>
          </p:cNvPr>
          <p:cNvSpPr/>
          <p:nvPr/>
        </p:nvSpPr>
        <p:spPr>
          <a:xfrm>
            <a:off x="2016816" y="2197351"/>
            <a:ext cx="839450" cy="583684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latin typeface="Garamond" panose="02020404030301010803" pitchFamily="18" charset="0"/>
            </a:endParaRPr>
          </a:p>
        </p:txBody>
      </p:sp>
      <p:sp>
        <p:nvSpPr>
          <p:cNvPr id="27" name="Flèche : bas 23">
            <a:extLst>
              <a:ext uri="{FF2B5EF4-FFF2-40B4-BE49-F238E27FC236}">
                <a16:creationId xmlns:a16="http://schemas.microsoft.com/office/drawing/2014/main" id="{AC295203-375E-4221-BAA9-8EFBA40BBDFF}"/>
              </a:ext>
            </a:extLst>
          </p:cNvPr>
          <p:cNvSpPr/>
          <p:nvPr/>
        </p:nvSpPr>
        <p:spPr>
          <a:xfrm>
            <a:off x="9198819" y="2197350"/>
            <a:ext cx="839450" cy="567527"/>
          </a:xfrm>
          <a:prstGeom prst="down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latin typeface="Garamond" panose="02020404030301010803" pitchFamily="18" charset="0"/>
            </a:endParaRPr>
          </a:p>
        </p:txBody>
      </p:sp>
      <p:sp>
        <p:nvSpPr>
          <p:cNvPr id="28" name="Rectangle : coins arrondis 24">
            <a:extLst>
              <a:ext uri="{FF2B5EF4-FFF2-40B4-BE49-F238E27FC236}">
                <a16:creationId xmlns:a16="http://schemas.microsoft.com/office/drawing/2014/main" id="{6BF6B249-577E-4210-9191-00E44FBFE26E}"/>
              </a:ext>
            </a:extLst>
          </p:cNvPr>
          <p:cNvSpPr/>
          <p:nvPr/>
        </p:nvSpPr>
        <p:spPr>
          <a:xfrm>
            <a:off x="2921995" y="5792053"/>
            <a:ext cx="6231639" cy="684029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>
                <a:solidFill>
                  <a:schemeClr val="tx1"/>
                </a:solidFill>
                <a:latin typeface="Garamond" panose="02020404030301010803" pitchFamily="18" charset="0"/>
              </a:rPr>
              <a:t>Une Administration moderne, performante ayant une notoriété auprès des citoyens / usagers</a:t>
            </a:r>
          </a:p>
        </p:txBody>
      </p:sp>
      <p:sp>
        <p:nvSpPr>
          <p:cNvPr id="29" name="Flèche : bas 25">
            <a:extLst>
              <a:ext uri="{FF2B5EF4-FFF2-40B4-BE49-F238E27FC236}">
                <a16:creationId xmlns:a16="http://schemas.microsoft.com/office/drawing/2014/main" id="{266EB5D0-9406-4BBD-98C7-D40A421F1EB1}"/>
              </a:ext>
            </a:extLst>
          </p:cNvPr>
          <p:cNvSpPr/>
          <p:nvPr/>
        </p:nvSpPr>
        <p:spPr>
          <a:xfrm>
            <a:off x="5620180" y="5058583"/>
            <a:ext cx="839450" cy="712314"/>
          </a:xfrm>
          <a:prstGeom prst="downArrow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fr-FR">
              <a:latin typeface="Garamond" panose="02020404030301010803" pitchFamily="18" charset="0"/>
            </a:endParaRPr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677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67798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2800" b="1" dirty="0">
                <a:latin typeface="Garamond" panose="02020404030301010803" pitchFamily="18" charset="0"/>
              </a:rPr>
              <a:t>ECOSYSTÈME</a:t>
            </a:r>
            <a:endParaRPr lang="en-US" sz="2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7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63" name="Image 6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34571" y="1123773"/>
            <a:ext cx="129894" cy="107797"/>
          </a:xfrm>
          <a:prstGeom prst="rect">
            <a:avLst/>
          </a:prstGeom>
        </p:spPr>
      </p:pic>
      <p:grpSp>
        <p:nvGrpSpPr>
          <p:cNvPr id="3" name="Groupe 2"/>
          <p:cNvGrpSpPr/>
          <p:nvPr/>
        </p:nvGrpSpPr>
        <p:grpSpPr>
          <a:xfrm>
            <a:off x="4044114" y="1803174"/>
            <a:ext cx="7655665" cy="4151540"/>
            <a:chOff x="139982" y="1387196"/>
            <a:chExt cx="10400934" cy="4914057"/>
          </a:xfrm>
        </p:grpSpPr>
        <p:sp>
          <p:nvSpPr>
            <p:cNvPr id="9" name="Ellipse 8"/>
            <p:cNvSpPr/>
            <p:nvPr/>
          </p:nvSpPr>
          <p:spPr>
            <a:xfrm>
              <a:off x="3755689" y="2907104"/>
              <a:ext cx="3460164" cy="3241317"/>
            </a:xfrm>
            <a:prstGeom prst="ellipse">
              <a:avLst/>
            </a:prstGeom>
            <a:solidFill>
              <a:schemeClr val="lt1"/>
            </a:solidFill>
            <a:ln w="276225" cmpd="thinThick">
              <a:gradFill flip="none" rotWithShape="1">
                <a:gsLst>
                  <a:gs pos="0">
                    <a:schemeClr val="accent1">
                      <a:lumMod val="89000"/>
                    </a:schemeClr>
                  </a:gs>
                  <a:gs pos="23000">
                    <a:schemeClr val="accent1">
                      <a:lumMod val="89000"/>
                    </a:schemeClr>
                  </a:gs>
                  <a:gs pos="69000">
                    <a:schemeClr val="accent1">
                      <a:lumMod val="75000"/>
                    </a:schemeClr>
                  </a:gs>
                  <a:gs pos="97000">
                    <a:schemeClr val="accent1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lvl="0"/>
              <a:endParaRPr lang="fr-FR" dirty="0"/>
            </a:p>
          </p:txBody>
        </p:sp>
        <p:grpSp>
          <p:nvGrpSpPr>
            <p:cNvPr id="2" name="Groupe 1"/>
            <p:cNvGrpSpPr/>
            <p:nvPr/>
          </p:nvGrpSpPr>
          <p:grpSpPr>
            <a:xfrm>
              <a:off x="139982" y="1387196"/>
              <a:ext cx="10400934" cy="4914057"/>
              <a:chOff x="224648" y="1384031"/>
              <a:chExt cx="10400934" cy="4914057"/>
            </a:xfrm>
          </p:grpSpPr>
          <p:sp>
            <p:nvSpPr>
              <p:cNvPr id="10" name="Ellipse 9"/>
              <p:cNvSpPr/>
              <p:nvPr/>
            </p:nvSpPr>
            <p:spPr>
              <a:xfrm>
                <a:off x="1632178" y="2044983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100" dirty="0">
                    <a:latin typeface="Garamond" panose="02020404030301010803" pitchFamily="18" charset="0"/>
                  </a:rPr>
                  <a:t>Ministère de l’intérieur</a:t>
                </a:r>
                <a:endParaRPr lang="en-US" sz="11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33" name="Ellipse 32"/>
              <p:cNvSpPr/>
              <p:nvPr/>
            </p:nvSpPr>
            <p:spPr>
              <a:xfrm>
                <a:off x="1791819" y="5581772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Poste Maroc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34" name="Ellipse 33"/>
              <p:cNvSpPr/>
              <p:nvPr/>
            </p:nvSpPr>
            <p:spPr>
              <a:xfrm>
                <a:off x="8698797" y="4734329"/>
                <a:ext cx="16836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dirty="0">
                    <a:latin typeface="Garamond" panose="02020404030301010803" pitchFamily="18" charset="0"/>
                  </a:rPr>
                  <a:t>Assurances</a:t>
                </a:r>
                <a:endParaRPr lang="en-US" sz="12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35" name="Ellipse 34"/>
              <p:cNvSpPr/>
              <p:nvPr/>
            </p:nvSpPr>
            <p:spPr>
              <a:xfrm>
                <a:off x="8028923" y="5616031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APSF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36" name="Ellipse 35"/>
              <p:cNvSpPr/>
              <p:nvPr/>
            </p:nvSpPr>
            <p:spPr>
              <a:xfrm>
                <a:off x="4841687" y="1390313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DGI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37" name="Ellipse 36"/>
              <p:cNvSpPr/>
              <p:nvPr/>
            </p:nvSpPr>
            <p:spPr>
              <a:xfrm>
                <a:off x="3177706" y="1440205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TGR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38" name="Ellipse 37"/>
              <p:cNvSpPr/>
              <p:nvPr/>
            </p:nvSpPr>
            <p:spPr>
              <a:xfrm>
                <a:off x="6393365" y="1384031"/>
                <a:ext cx="1660199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Douane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39" name="Ellipse 38"/>
              <p:cNvSpPr/>
              <p:nvPr/>
            </p:nvSpPr>
            <p:spPr>
              <a:xfrm>
                <a:off x="849669" y="4799720"/>
                <a:ext cx="1777874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200" dirty="0">
                    <a:latin typeface="Garamond" panose="02020404030301010803" pitchFamily="18" charset="0"/>
                  </a:rPr>
                  <a:t>Ministère de la Justice</a:t>
                </a:r>
                <a:endParaRPr lang="en-US" sz="12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40" name="Ellipse 39"/>
              <p:cNvSpPr/>
              <p:nvPr/>
            </p:nvSpPr>
            <p:spPr>
              <a:xfrm>
                <a:off x="8732749" y="2843068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DGSN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41" name="Ellipse 40"/>
              <p:cNvSpPr/>
              <p:nvPr/>
            </p:nvSpPr>
            <p:spPr>
              <a:xfrm>
                <a:off x="8028923" y="2011254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GR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42" name="Ellipse 41"/>
              <p:cNvSpPr/>
              <p:nvPr/>
            </p:nvSpPr>
            <p:spPr>
              <a:xfrm>
                <a:off x="575732" y="3924583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MTL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43" name="Ellipse 42"/>
              <p:cNvSpPr/>
              <p:nvPr/>
            </p:nvSpPr>
            <p:spPr>
              <a:xfrm>
                <a:off x="997786" y="3049445"/>
                <a:ext cx="1385887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400" dirty="0">
                    <a:latin typeface="Garamond" panose="02020404030301010803" pitchFamily="18" charset="0"/>
                  </a:rPr>
                  <a:t>MSPS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sp>
            <p:nvSpPr>
              <p:cNvPr id="44" name="Ellipse 43"/>
              <p:cNvSpPr/>
              <p:nvPr/>
            </p:nvSpPr>
            <p:spPr>
              <a:xfrm>
                <a:off x="8801048" y="3806586"/>
                <a:ext cx="1679233" cy="682057"/>
              </a:xfrm>
              <a:prstGeom prst="ellipse">
                <a:avLst/>
              </a:prstGeom>
            </p:spPr>
            <p:style>
              <a:lnRef idx="2">
                <a:schemeClr val="accent1"/>
              </a:lnRef>
              <a:fillRef idx="1">
                <a:schemeClr val="lt1"/>
              </a:fillRef>
              <a:effectRef idx="0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r>
                  <a:rPr lang="fr-FR" sz="1100" dirty="0">
                    <a:latin typeface="Garamond" panose="02020404030301010803" pitchFamily="18" charset="0"/>
                  </a:rPr>
                  <a:t>Protection</a:t>
                </a:r>
                <a:r>
                  <a:rPr lang="fr-FR" sz="1400" dirty="0">
                    <a:latin typeface="Garamond" panose="02020404030301010803" pitchFamily="18" charset="0"/>
                  </a:rPr>
                  <a:t> civile</a:t>
                </a:r>
                <a:endParaRPr lang="en-US" sz="1400" dirty="0">
                  <a:latin typeface="Garamond" panose="02020404030301010803" pitchFamily="18" charset="0"/>
                </a:endParaRPr>
              </a:p>
            </p:txBody>
          </p:sp>
          <p:pic>
            <p:nvPicPr>
              <p:cNvPr id="45" name="Image 4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40899" y="2823691"/>
                <a:ext cx="393449" cy="649519"/>
              </a:xfrm>
              <a:prstGeom prst="rect">
                <a:avLst/>
              </a:prstGeom>
            </p:spPr>
          </p:pic>
          <p:pic>
            <p:nvPicPr>
              <p:cNvPr id="47" name="Image 46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66259" y="5739913"/>
                <a:ext cx="815941" cy="434291"/>
              </a:xfrm>
              <a:prstGeom prst="rect">
                <a:avLst/>
              </a:prstGeom>
            </p:spPr>
          </p:pic>
          <p:pic>
            <p:nvPicPr>
              <p:cNvPr id="48" name="Image 47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013861" y="4864586"/>
                <a:ext cx="434415" cy="434415"/>
              </a:xfrm>
              <a:prstGeom prst="rect">
                <a:avLst/>
              </a:prstGeom>
            </p:spPr>
          </p:pic>
          <p:sp>
            <p:nvSpPr>
              <p:cNvPr id="50" name="Rectangle 49"/>
              <p:cNvSpPr/>
              <p:nvPr/>
            </p:nvSpPr>
            <p:spPr>
              <a:xfrm>
                <a:off x="5865390" y="1505574"/>
                <a:ext cx="432839" cy="48142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49" name="Image 48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51240" y="1526309"/>
                <a:ext cx="485340" cy="435188"/>
              </a:xfrm>
              <a:prstGeom prst="rect">
                <a:avLst/>
              </a:prstGeom>
              <a:ln>
                <a:solidFill>
                  <a:schemeClr val="bg1"/>
                </a:solidFill>
              </a:ln>
            </p:spPr>
          </p:pic>
          <p:grpSp>
            <p:nvGrpSpPr>
              <p:cNvPr id="57" name="Groupe 56"/>
              <p:cNvGrpSpPr/>
              <p:nvPr/>
            </p:nvGrpSpPr>
            <p:grpSpPr>
              <a:xfrm>
                <a:off x="639925" y="3146022"/>
                <a:ext cx="552846" cy="518043"/>
                <a:chOff x="639925" y="3146022"/>
                <a:chExt cx="552846" cy="518043"/>
              </a:xfrm>
            </p:grpSpPr>
            <p:sp>
              <p:nvSpPr>
                <p:cNvPr id="53" name="Rectangle 52"/>
                <p:cNvSpPr/>
                <p:nvPr/>
              </p:nvSpPr>
              <p:spPr>
                <a:xfrm>
                  <a:off x="639925" y="3146022"/>
                  <a:ext cx="552846" cy="518043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51" name="Image 50"/>
                <p:cNvPicPr>
                  <a:picLocks noChangeAspect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69951" y="3171758"/>
                  <a:ext cx="485839" cy="393530"/>
                </a:xfrm>
                <a:prstGeom prst="rect">
                  <a:avLst/>
                </a:prstGeom>
              </p:spPr>
            </p:pic>
          </p:grpSp>
          <p:sp>
            <p:nvSpPr>
              <p:cNvPr id="55" name="Rectangle 54"/>
              <p:cNvSpPr/>
              <p:nvPr/>
            </p:nvSpPr>
            <p:spPr>
              <a:xfrm flipV="1">
                <a:off x="7516230" y="1516692"/>
                <a:ext cx="861605" cy="427148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54" name="Image 53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530509" y="1526309"/>
                <a:ext cx="847326" cy="387899"/>
              </a:xfrm>
              <a:prstGeom prst="rect">
                <a:avLst/>
              </a:prstGeom>
            </p:spPr>
          </p:pic>
          <p:pic>
            <p:nvPicPr>
              <p:cNvPr id="56" name="Image 55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24648" y="4081057"/>
                <a:ext cx="625021" cy="369107"/>
              </a:xfrm>
              <a:prstGeom prst="rect">
                <a:avLst/>
              </a:prstGeom>
            </p:spPr>
          </p:pic>
          <p:grpSp>
            <p:nvGrpSpPr>
              <p:cNvPr id="60" name="Groupe 59"/>
              <p:cNvGrpSpPr/>
              <p:nvPr/>
            </p:nvGrpSpPr>
            <p:grpSpPr>
              <a:xfrm>
                <a:off x="1201892" y="2091536"/>
                <a:ext cx="759727" cy="510983"/>
                <a:chOff x="1201892" y="2091536"/>
                <a:chExt cx="759727" cy="510983"/>
              </a:xfrm>
            </p:grpSpPr>
            <p:sp>
              <p:nvSpPr>
                <p:cNvPr id="59" name="Rectangle 58"/>
                <p:cNvSpPr/>
                <p:nvPr/>
              </p:nvSpPr>
              <p:spPr>
                <a:xfrm>
                  <a:off x="1332357" y="2091536"/>
                  <a:ext cx="520505" cy="510983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58" name="Image 57"/>
                <p:cNvPicPr>
                  <a:picLocks noChangeAspect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01892" y="2138057"/>
                  <a:ext cx="759727" cy="400123"/>
                </a:xfrm>
                <a:prstGeom prst="rect">
                  <a:avLst/>
                </a:prstGeom>
              </p:spPr>
            </p:pic>
          </p:grpSp>
          <p:pic>
            <p:nvPicPr>
              <p:cNvPr id="61" name="Image 60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270969" y="3838197"/>
                <a:ext cx="354613" cy="464211"/>
              </a:xfrm>
              <a:prstGeom prst="rect">
                <a:avLst/>
              </a:prstGeom>
            </p:spPr>
          </p:pic>
          <p:pic>
            <p:nvPicPr>
              <p:cNvPr id="62" name="Image 61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82137" y="2050998"/>
                <a:ext cx="330704" cy="464211"/>
              </a:xfrm>
              <a:prstGeom prst="rect">
                <a:avLst/>
              </a:prstGeom>
            </p:spPr>
          </p:pic>
          <p:grpSp>
            <p:nvGrpSpPr>
              <p:cNvPr id="66" name="Groupe 65"/>
              <p:cNvGrpSpPr/>
              <p:nvPr/>
            </p:nvGrpSpPr>
            <p:grpSpPr>
              <a:xfrm>
                <a:off x="4278511" y="1543040"/>
                <a:ext cx="467674" cy="468214"/>
                <a:chOff x="4278511" y="1543040"/>
                <a:chExt cx="467674" cy="468214"/>
              </a:xfrm>
            </p:grpSpPr>
            <p:sp>
              <p:nvSpPr>
                <p:cNvPr id="65" name="Rectangle 64"/>
                <p:cNvSpPr/>
                <p:nvPr/>
              </p:nvSpPr>
              <p:spPr>
                <a:xfrm>
                  <a:off x="4278511" y="1543040"/>
                  <a:ext cx="444723" cy="468214"/>
                </a:xfrm>
                <a:prstGeom prst="rect">
                  <a:avLst/>
                </a:prstGeom>
                <a:solidFill>
                  <a:schemeClr val="bg1"/>
                </a:solidFill>
                <a:ln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pic>
              <p:nvPicPr>
                <p:cNvPr id="64" name="Image 63"/>
                <p:cNvPicPr>
                  <a:picLocks noChangeAspect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278511" y="1607683"/>
                  <a:ext cx="467674" cy="388117"/>
                </a:xfrm>
                <a:prstGeom prst="rect">
                  <a:avLst/>
                </a:prstGeom>
              </p:spPr>
            </p:pic>
          </p:grpSp>
          <p:pic>
            <p:nvPicPr>
              <p:cNvPr id="67" name="Image 66"/>
              <p:cNvPicPr>
                <a:picLocks noChangeAspect="1"/>
              </p:cNvPicPr>
              <p:nvPr/>
            </p:nvPicPr>
            <p:blipFill rotWithShape="1"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6267" r="27133"/>
              <a:stretch/>
            </p:blipFill>
            <p:spPr>
              <a:xfrm>
                <a:off x="813076" y="4859238"/>
                <a:ext cx="455599" cy="488840"/>
              </a:xfrm>
              <a:prstGeom prst="rect">
                <a:avLst/>
              </a:prstGeom>
            </p:spPr>
          </p:pic>
          <p:pic>
            <p:nvPicPr>
              <p:cNvPr id="68" name="Image 67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06180" y="5788646"/>
                <a:ext cx="255439" cy="301556"/>
              </a:xfrm>
              <a:prstGeom prst="rect">
                <a:avLst/>
              </a:prstGeom>
            </p:spPr>
          </p:pic>
          <p:cxnSp>
            <p:nvCxnSpPr>
              <p:cNvPr id="72" name="Connecteur droit 71"/>
              <p:cNvCxnSpPr>
                <a:stCxn id="36" idx="4"/>
                <a:endCxn id="9" idx="0"/>
              </p:cNvCxnSpPr>
              <p:nvPr/>
            </p:nvCxnSpPr>
            <p:spPr>
              <a:xfrm flipH="1">
                <a:off x="5528936" y="2072370"/>
                <a:ext cx="5695" cy="59388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Connecteur droit 73"/>
              <p:cNvCxnSpPr>
                <a:endCxn id="38" idx="4"/>
              </p:cNvCxnSpPr>
              <p:nvPr/>
            </p:nvCxnSpPr>
            <p:spPr>
              <a:xfrm flipV="1">
                <a:off x="6227574" y="2066088"/>
                <a:ext cx="904749" cy="75760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Connecteur droit 75"/>
              <p:cNvCxnSpPr>
                <a:endCxn id="37" idx="4"/>
              </p:cNvCxnSpPr>
              <p:nvPr/>
            </p:nvCxnSpPr>
            <p:spPr>
              <a:xfrm flipH="1" flipV="1">
                <a:off x="3870650" y="2122262"/>
                <a:ext cx="723240" cy="72080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Connecteur droit 77"/>
              <p:cNvCxnSpPr>
                <a:stCxn id="9" idx="7"/>
                <a:endCxn id="41" idx="2"/>
              </p:cNvCxnSpPr>
              <p:nvPr/>
            </p:nvCxnSpPr>
            <p:spPr>
              <a:xfrm flipV="1">
                <a:off x="6953660" y="2352283"/>
                <a:ext cx="1075263" cy="88703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Connecteur droit 79"/>
              <p:cNvCxnSpPr>
                <a:stCxn id="9" idx="1"/>
                <a:endCxn id="10" idx="6"/>
              </p:cNvCxnSpPr>
              <p:nvPr/>
            </p:nvCxnSpPr>
            <p:spPr>
              <a:xfrm flipH="1" flipV="1">
                <a:off x="3018065" y="2386012"/>
                <a:ext cx="1086146" cy="85330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Connecteur droit 81"/>
              <p:cNvCxnSpPr>
                <a:endCxn id="43" idx="6"/>
              </p:cNvCxnSpPr>
              <p:nvPr/>
            </p:nvCxnSpPr>
            <p:spPr>
              <a:xfrm flipH="1" flipV="1">
                <a:off x="2383673" y="3390474"/>
                <a:ext cx="1296963" cy="416112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Connecteur droit 83"/>
              <p:cNvCxnSpPr>
                <a:endCxn id="42" idx="6"/>
              </p:cNvCxnSpPr>
              <p:nvPr/>
            </p:nvCxnSpPr>
            <p:spPr>
              <a:xfrm flipH="1" flipV="1">
                <a:off x="1961619" y="4265612"/>
                <a:ext cx="1552452" cy="13634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Connecteur droit 85"/>
              <p:cNvCxnSpPr>
                <a:endCxn id="39" idx="6"/>
              </p:cNvCxnSpPr>
              <p:nvPr/>
            </p:nvCxnSpPr>
            <p:spPr>
              <a:xfrm flipH="1">
                <a:off x="2406739" y="4971199"/>
                <a:ext cx="1154399" cy="169551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Connecteur droit 87"/>
              <p:cNvCxnSpPr>
                <a:endCxn id="33" idx="6"/>
              </p:cNvCxnSpPr>
              <p:nvPr/>
            </p:nvCxnSpPr>
            <p:spPr>
              <a:xfrm flipH="1">
                <a:off x="3177706" y="5739913"/>
                <a:ext cx="667664" cy="18288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Connecteur droit 89"/>
              <p:cNvCxnSpPr>
                <a:endCxn id="40" idx="2"/>
              </p:cNvCxnSpPr>
              <p:nvPr/>
            </p:nvCxnSpPr>
            <p:spPr>
              <a:xfrm flipV="1">
                <a:off x="7372624" y="3184097"/>
                <a:ext cx="1360125" cy="584925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Connecteur droit 91"/>
              <p:cNvCxnSpPr>
                <a:endCxn id="44" idx="2"/>
              </p:cNvCxnSpPr>
              <p:nvPr/>
            </p:nvCxnSpPr>
            <p:spPr>
              <a:xfrm flipV="1">
                <a:off x="7530509" y="4147615"/>
                <a:ext cx="1563885" cy="25433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Connecteur droit 93"/>
              <p:cNvCxnSpPr>
                <a:endCxn id="34" idx="2"/>
              </p:cNvCxnSpPr>
              <p:nvPr/>
            </p:nvCxnSpPr>
            <p:spPr>
              <a:xfrm>
                <a:off x="7516230" y="5018880"/>
                <a:ext cx="1284819" cy="56478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Connecteur droit 95"/>
              <p:cNvCxnSpPr>
                <a:endCxn id="35" idx="2"/>
              </p:cNvCxnSpPr>
              <p:nvPr/>
            </p:nvCxnSpPr>
            <p:spPr>
              <a:xfrm>
                <a:off x="7204201" y="5730354"/>
                <a:ext cx="824722" cy="226706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27" name="Image 26"/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6095483" y="3428727"/>
                <a:ext cx="1034" cy="545"/>
              </a:xfrm>
              <a:prstGeom prst="rect">
                <a:avLst/>
              </a:prstGeom>
            </p:spPr>
          </p:pic>
          <p:pic>
            <p:nvPicPr>
              <p:cNvPr id="28" name="Image 27"/>
              <p:cNvPicPr>
                <a:picLocks noChangeAspect="1"/>
              </p:cNvPicPr>
              <p:nvPr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50500" y="3686046"/>
                <a:ext cx="2578747" cy="1557994"/>
              </a:xfrm>
              <a:prstGeom prst="rect">
                <a:avLst/>
              </a:prstGeom>
            </p:spPr>
          </p:pic>
        </p:grpSp>
      </p:grpSp>
      <p:sp>
        <p:nvSpPr>
          <p:cNvPr id="5" name="Rectangle 4"/>
          <p:cNvSpPr/>
          <p:nvPr/>
        </p:nvSpPr>
        <p:spPr>
          <a:xfrm>
            <a:off x="578282" y="2276117"/>
            <a:ext cx="3295873" cy="30469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5A93B6"/>
            </a:solidFill>
            <a:prstDash val="sysDash"/>
          </a:ln>
        </p:spPr>
        <p:txBody>
          <a:bodyPr wrap="square">
            <a:spAutoFit/>
          </a:bodyPr>
          <a:lstStyle/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altLang="fr-FR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te sollicitation des services de la NARSA et de son écosystème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endParaRPr lang="fr-FR" altLang="fr-FR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r>
              <a:rPr lang="fr-FR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lus de 6 Millions de prestations de services délivrées par la NARSA et son écosystème</a:t>
            </a:r>
          </a:p>
          <a:p>
            <a:pPr marL="342900" indent="-342900" algn="just">
              <a:spcBef>
                <a:spcPts val="600"/>
              </a:spcBef>
              <a:spcAft>
                <a:spcPts val="600"/>
              </a:spcAft>
              <a:buClr>
                <a:srgbClr val="0070C0"/>
              </a:buClr>
              <a:buSzPct val="80000"/>
              <a:buFont typeface="Wingdings" panose="05000000000000000000" pitchFamily="2" charset="2"/>
              <a:buChar char="q"/>
            </a:pPr>
            <a:endParaRPr lang="fr-FR" altLang="fr-FR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9" name="Image 68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grpSp>
        <p:nvGrpSpPr>
          <p:cNvPr id="70" name="Groupe 6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340839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2065157" y="2275634"/>
            <a:ext cx="9109662" cy="2136877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fr-FR" altLang="fr-FR" sz="4800" b="1" dirty="0" smtClean="0">
                <a:latin typeface="Garamond" panose="02020404030301010803" pitchFamily="18" charset="0"/>
              </a:rPr>
              <a:t>TRANSFORMATION DIGITALE</a:t>
            </a:r>
          </a:p>
          <a:p>
            <a:pPr lvl="0" algn="ctr">
              <a:defRPr/>
            </a:pPr>
            <a:endParaRPr lang="fr-FR" altLang="fr-FR" sz="1000" b="1" dirty="0">
              <a:latin typeface="Garamond" panose="02020404030301010803" pitchFamily="18" charset="0"/>
            </a:endParaRPr>
          </a:p>
          <a:p>
            <a:pPr lvl="0" algn="ctr">
              <a:defRPr/>
            </a:pPr>
            <a:r>
              <a:rPr lang="fr-FR" altLang="fr-FR" sz="4800" b="1" dirty="0" smtClean="0">
                <a:latin typeface="Garamond" panose="02020404030301010803" pitchFamily="18" charset="0"/>
              </a:rPr>
              <a:t>VISION DE LA NARSA</a:t>
            </a:r>
            <a:endParaRPr lang="fr-FR" altLang="fr-FR" sz="4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8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8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153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764171"/>
            <a:ext cx="8488680" cy="585788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fr-FR" altLang="fr-FR" sz="2800" b="1" dirty="0" smtClean="0">
                <a:latin typeface="Garamond" panose="02020404030301010803" pitchFamily="18" charset="0"/>
              </a:rPr>
              <a:t>VISION DE LA NARSA</a:t>
            </a:r>
            <a:endParaRPr lang="fr-FR" altLang="fr-FR" sz="2800" b="1" dirty="0">
              <a:latin typeface="Garamond" panose="02020404030301010803" pitchFamily="18" charset="0"/>
            </a:endParaRPr>
          </a:p>
        </p:txBody>
      </p:sp>
      <p:sp>
        <p:nvSpPr>
          <p:cNvPr id="46" name="Espace réservé du numéro de diapositive 4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E36FDE-51A7-4B0B-BB85-E626DBF2878C}" type="slidenum">
              <a:rPr lang="en-US" smtClean="0"/>
              <a:t>9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E23952-55EB-4DC5-9577-1836206064FE}"/>
              </a:ext>
            </a:extLst>
          </p:cNvPr>
          <p:cNvSpPr/>
          <p:nvPr/>
        </p:nvSpPr>
        <p:spPr>
          <a:xfrm>
            <a:off x="4097806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70480D-C1C4-4405-955D-7FC1E4DD5E8E}"/>
              </a:ext>
            </a:extLst>
          </p:cNvPr>
          <p:cNvSpPr/>
          <p:nvPr/>
        </p:nvSpPr>
        <p:spPr>
          <a:xfrm>
            <a:off x="612011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46988-04B5-4CED-9995-F7D67A6B4447}"/>
              </a:ext>
            </a:extLst>
          </p:cNvPr>
          <p:cNvSpPr/>
          <p:nvPr/>
        </p:nvSpPr>
        <p:spPr>
          <a:xfrm>
            <a:off x="8141520" y="6723620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15EC7C9-B881-45B3-B86F-A96B14DA3F11}"/>
              </a:ext>
            </a:extLst>
          </p:cNvPr>
          <p:cNvSpPr/>
          <p:nvPr/>
        </p:nvSpPr>
        <p:spPr>
          <a:xfrm>
            <a:off x="10172649" y="6723620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F011F48-6145-42D1-8104-053A8CF5A830}"/>
              </a:ext>
            </a:extLst>
          </p:cNvPr>
          <p:cNvSpPr/>
          <p:nvPr/>
        </p:nvSpPr>
        <p:spPr>
          <a:xfrm>
            <a:off x="22800" y="6721475"/>
            <a:ext cx="1996104" cy="89350"/>
          </a:xfrm>
          <a:prstGeom prst="rect">
            <a:avLst/>
          </a:prstGeom>
          <a:solidFill>
            <a:srgbClr val="FFF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16A7517-CF83-4F97-A464-78BC61C5AFE3}"/>
              </a:ext>
            </a:extLst>
          </p:cNvPr>
          <p:cNvSpPr/>
          <p:nvPr/>
        </p:nvSpPr>
        <p:spPr>
          <a:xfrm>
            <a:off x="2065157" y="6721475"/>
            <a:ext cx="1996104" cy="89350"/>
          </a:xfrm>
          <a:prstGeom prst="rect">
            <a:avLst/>
          </a:prstGeom>
          <a:solidFill>
            <a:srgbClr val="3E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176" tIns="53588" rIns="107176" bIns="53588" rtlCol="0" anchor="ctr"/>
          <a:lstStyle/>
          <a:p>
            <a:pPr algn="ctr"/>
            <a:endParaRPr lang="fr-FR"/>
          </a:p>
        </p:txBody>
      </p:sp>
      <p:sp>
        <p:nvSpPr>
          <p:cNvPr id="22" name="Espace réservé du numéro de diapositive 1"/>
          <p:cNvSpPr txBox="1">
            <a:spLocks/>
          </p:cNvSpPr>
          <p:nvPr/>
        </p:nvSpPr>
        <p:spPr>
          <a:xfrm>
            <a:off x="7429449" y="721226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E36FDE-51A7-4B0B-BB85-E626DBF2878C}" type="slidenum">
              <a:rPr lang="en-US" smtClean="0"/>
              <a:pPr/>
              <a:t>9</a:t>
            </a:fld>
            <a:endParaRPr lang="en-US"/>
          </a:p>
        </p:txBody>
      </p:sp>
      <p:grpSp>
        <p:nvGrpSpPr>
          <p:cNvPr id="30" name="Groupe 29">
            <a:extLst>
              <a:ext uri="{FF2B5EF4-FFF2-40B4-BE49-F238E27FC236}">
                <a16:creationId xmlns:a16="http://schemas.microsoft.com/office/drawing/2014/main" id="{4701F25F-3583-4A2B-A953-8213DD4CEAA1}"/>
              </a:ext>
            </a:extLst>
          </p:cNvPr>
          <p:cNvGrpSpPr/>
          <p:nvPr/>
        </p:nvGrpSpPr>
        <p:grpSpPr>
          <a:xfrm>
            <a:off x="261488" y="1456524"/>
            <a:ext cx="205057" cy="5047525"/>
            <a:chOff x="-66955" y="0"/>
            <a:chExt cx="218757" cy="669160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B4F005F8-065E-4661-8E3D-7546310A314D}"/>
                </a:ext>
              </a:extLst>
            </p:cNvPr>
            <p:cNvSpPr/>
            <p:nvPr/>
          </p:nvSpPr>
          <p:spPr>
            <a:xfrm>
              <a:off x="-36512" y="0"/>
              <a:ext cx="179512" cy="662056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724DD394-32AA-443F-8D04-92E671F0AB19}"/>
                </a:ext>
              </a:extLst>
            </p:cNvPr>
            <p:cNvSpPr/>
            <p:nvPr/>
          </p:nvSpPr>
          <p:spPr>
            <a:xfrm>
              <a:off x="-66955" y="91655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8E6724BE-9A2F-40A9-9FEF-F550108F6798}"/>
                </a:ext>
              </a:extLst>
            </p:cNvPr>
            <p:cNvSpPr/>
            <p:nvPr/>
          </p:nvSpPr>
          <p:spPr>
            <a:xfrm>
              <a:off x="-64222" y="5899516"/>
              <a:ext cx="216024" cy="792088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53BA4A6A-270B-47F2-91D3-D5F2A175643E}"/>
                </a:ext>
              </a:extLst>
            </p:cNvPr>
            <p:cNvSpPr/>
            <p:nvPr/>
          </p:nvSpPr>
          <p:spPr>
            <a:xfrm>
              <a:off x="-50368" y="1085912"/>
              <a:ext cx="202169" cy="396044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pic>
        <p:nvPicPr>
          <p:cNvPr id="35" name="Image 3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4286" y="45301"/>
            <a:ext cx="1767714" cy="718870"/>
          </a:xfrm>
          <a:prstGeom prst="rect">
            <a:avLst/>
          </a:prstGeom>
        </p:spPr>
      </p:pic>
      <p:sp>
        <p:nvSpPr>
          <p:cNvPr id="19" name="Circle">
            <a:extLst>
              <a:ext uri="{FF2B5EF4-FFF2-40B4-BE49-F238E27FC236}">
                <a16:creationId xmlns:a16="http://schemas.microsoft.com/office/drawing/2014/main" id="{FC7A9688-B81A-4990-9CCB-58714BC383C8}"/>
              </a:ext>
            </a:extLst>
          </p:cNvPr>
          <p:cNvSpPr/>
          <p:nvPr/>
        </p:nvSpPr>
        <p:spPr>
          <a:xfrm>
            <a:off x="5241160" y="3114485"/>
            <a:ext cx="1386916" cy="1386913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431" tIns="21431" rIns="21431" bIns="21431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/>
          </a:p>
        </p:txBody>
      </p:sp>
      <p:sp>
        <p:nvSpPr>
          <p:cNvPr id="20" name="Freeform: Shape 61">
            <a:extLst>
              <a:ext uri="{FF2B5EF4-FFF2-40B4-BE49-F238E27FC236}">
                <a16:creationId xmlns:a16="http://schemas.microsoft.com/office/drawing/2014/main" id="{05A8367A-2C7E-44B4-97EF-FB6750282D02}"/>
              </a:ext>
            </a:extLst>
          </p:cNvPr>
          <p:cNvSpPr/>
          <p:nvPr/>
        </p:nvSpPr>
        <p:spPr>
          <a:xfrm>
            <a:off x="5497691" y="2645391"/>
            <a:ext cx="873836" cy="628072"/>
          </a:xfrm>
          <a:custGeom>
            <a:avLst/>
            <a:gdLst>
              <a:gd name="connsiteX0" fmla="*/ 356865 w 1271232"/>
              <a:gd name="connsiteY0" fmla="*/ 1537 h 913702"/>
              <a:gd name="connsiteX1" fmla="*/ 354220 w 1271232"/>
              <a:gd name="connsiteY1" fmla="*/ 6411 h 913702"/>
              <a:gd name="connsiteX2" fmla="*/ 330219 w 1271232"/>
              <a:gd name="connsiteY2" fmla="*/ 125290 h 913702"/>
              <a:gd name="connsiteX3" fmla="*/ 333050 w 1271232"/>
              <a:gd name="connsiteY3" fmla="*/ 153373 h 913702"/>
              <a:gd name="connsiteX4" fmla="*/ 332432 w 1271232"/>
              <a:gd name="connsiteY4" fmla="*/ 150961 h 913702"/>
              <a:gd name="connsiteX5" fmla="*/ 332432 w 1271232"/>
              <a:gd name="connsiteY5" fmla="*/ 152567 h 913702"/>
              <a:gd name="connsiteX6" fmla="*/ 334579 w 1271232"/>
              <a:gd name="connsiteY6" fmla="*/ 168535 h 913702"/>
              <a:gd name="connsiteX7" fmla="*/ 336424 w 1271232"/>
              <a:gd name="connsiteY7" fmla="*/ 186841 h 913702"/>
              <a:gd name="connsiteX8" fmla="*/ 337511 w 1271232"/>
              <a:gd name="connsiteY8" fmla="*/ 190341 h 913702"/>
              <a:gd name="connsiteX9" fmla="*/ 342662 w 1271232"/>
              <a:gd name="connsiteY9" fmla="*/ 228651 h 913702"/>
              <a:gd name="connsiteX10" fmla="*/ 475402 w 1271232"/>
              <a:gd name="connsiteY10" fmla="*/ 401119 h 913702"/>
              <a:gd name="connsiteX11" fmla="*/ 460809 w 1271232"/>
              <a:gd name="connsiteY11" fmla="*/ 485590 h 913702"/>
              <a:gd name="connsiteX12" fmla="*/ 545277 w 1271232"/>
              <a:gd name="connsiteY12" fmla="*/ 631832 h 913702"/>
              <a:gd name="connsiteX13" fmla="*/ 480267 w 1271232"/>
              <a:gd name="connsiteY13" fmla="*/ 873873 h 913702"/>
              <a:gd name="connsiteX14" fmla="*/ 452658 w 1271232"/>
              <a:gd name="connsiteY14" fmla="*/ 890107 h 913702"/>
              <a:gd name="connsiteX15" fmla="*/ 210627 w 1271232"/>
              <a:gd name="connsiteY15" fmla="*/ 825126 h 913702"/>
              <a:gd name="connsiteX16" fmla="*/ 48199 w 1271232"/>
              <a:gd name="connsiteY16" fmla="*/ 544105 h 913702"/>
              <a:gd name="connsiteX17" fmla="*/ 285366 w 1271232"/>
              <a:gd name="connsiteY17" fmla="*/ 12881 h 913702"/>
              <a:gd name="connsiteX18" fmla="*/ 913559 w 1271232"/>
              <a:gd name="connsiteY18" fmla="*/ 0 h 913702"/>
              <a:gd name="connsiteX19" fmla="*/ 985562 w 1271232"/>
              <a:gd name="connsiteY19" fmla="*/ 11231 h 913702"/>
              <a:gd name="connsiteX20" fmla="*/ 1221085 w 1271232"/>
              <a:gd name="connsiteY20" fmla="*/ 540849 h 913702"/>
              <a:gd name="connsiteX21" fmla="*/ 1060235 w 1271232"/>
              <a:gd name="connsiteY21" fmla="*/ 818659 h 913702"/>
              <a:gd name="connsiteX22" fmla="*/ 818204 w 1271232"/>
              <a:gd name="connsiteY22" fmla="*/ 883640 h 913702"/>
              <a:gd name="connsiteX23" fmla="*/ 798681 w 1271232"/>
              <a:gd name="connsiteY23" fmla="*/ 872267 h 913702"/>
              <a:gd name="connsiteX24" fmla="*/ 733736 w 1271232"/>
              <a:gd name="connsiteY24" fmla="*/ 630182 h 913702"/>
              <a:gd name="connsiteX25" fmla="*/ 818204 w 1271232"/>
              <a:gd name="connsiteY25" fmla="*/ 483985 h 913702"/>
              <a:gd name="connsiteX26" fmla="*/ 798681 w 1271232"/>
              <a:gd name="connsiteY26" fmla="*/ 396258 h 913702"/>
              <a:gd name="connsiteX27" fmla="*/ 926865 w 1271232"/>
              <a:gd name="connsiteY27" fmla="*/ 226512 h 913702"/>
              <a:gd name="connsiteX28" fmla="*/ 930173 w 1271232"/>
              <a:gd name="connsiteY28" fmla="*/ 201858 h 913702"/>
              <a:gd name="connsiteX29" fmla="*/ 934834 w 1271232"/>
              <a:gd name="connsiteY29" fmla="*/ 186841 h 913702"/>
              <a:gd name="connsiteX30" fmla="*/ 941039 w 1271232"/>
              <a:gd name="connsiteY30" fmla="*/ 125290 h 913702"/>
              <a:gd name="connsiteX31" fmla="*/ 917039 w 1271232"/>
              <a:gd name="connsiteY31" fmla="*/ 6411 h 913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71232" h="913702">
                <a:moveTo>
                  <a:pt x="356865" y="1537"/>
                </a:moveTo>
                <a:lnTo>
                  <a:pt x="354220" y="6411"/>
                </a:lnTo>
                <a:cubicBezTo>
                  <a:pt x="338765" y="42950"/>
                  <a:pt x="330219" y="83122"/>
                  <a:pt x="330219" y="125290"/>
                </a:cubicBezTo>
                <a:lnTo>
                  <a:pt x="333050" y="153373"/>
                </a:lnTo>
                <a:lnTo>
                  <a:pt x="332432" y="150961"/>
                </a:lnTo>
                <a:cubicBezTo>
                  <a:pt x="332432" y="152567"/>
                  <a:pt x="332432" y="152567"/>
                  <a:pt x="332432" y="152567"/>
                </a:cubicBezTo>
                <a:lnTo>
                  <a:pt x="334579" y="168535"/>
                </a:lnTo>
                <a:lnTo>
                  <a:pt x="336424" y="186841"/>
                </a:lnTo>
                <a:lnTo>
                  <a:pt x="337511" y="190341"/>
                </a:lnTo>
                <a:lnTo>
                  <a:pt x="342662" y="228651"/>
                </a:lnTo>
                <a:cubicBezTo>
                  <a:pt x="362690" y="301230"/>
                  <a:pt x="410819" y="362150"/>
                  <a:pt x="475402" y="401119"/>
                </a:cubicBezTo>
                <a:cubicBezTo>
                  <a:pt x="452658" y="420609"/>
                  <a:pt x="442930" y="456378"/>
                  <a:pt x="460809" y="485590"/>
                </a:cubicBezTo>
                <a:lnTo>
                  <a:pt x="545277" y="631832"/>
                </a:lnTo>
                <a:cubicBezTo>
                  <a:pt x="593986" y="716303"/>
                  <a:pt x="564800" y="825126"/>
                  <a:pt x="480267" y="873873"/>
                </a:cubicBezTo>
                <a:lnTo>
                  <a:pt x="452658" y="890107"/>
                </a:lnTo>
                <a:cubicBezTo>
                  <a:pt x="368191" y="938854"/>
                  <a:pt x="259336" y="909597"/>
                  <a:pt x="210627" y="825126"/>
                </a:cubicBezTo>
                <a:lnTo>
                  <a:pt x="48199" y="544105"/>
                </a:lnTo>
                <a:cubicBezTo>
                  <a:pt x="-73672" y="332882"/>
                  <a:pt x="46556" y="64840"/>
                  <a:pt x="285366" y="12881"/>
                </a:cubicBezTo>
                <a:close/>
                <a:moveTo>
                  <a:pt x="913559" y="0"/>
                </a:moveTo>
                <a:lnTo>
                  <a:pt x="985562" y="11231"/>
                </a:lnTo>
                <a:cubicBezTo>
                  <a:pt x="1225950" y="61584"/>
                  <a:pt x="1346177" y="329671"/>
                  <a:pt x="1221085" y="540849"/>
                </a:cubicBezTo>
                <a:lnTo>
                  <a:pt x="1060235" y="818659"/>
                </a:lnTo>
                <a:cubicBezTo>
                  <a:pt x="1011526" y="903130"/>
                  <a:pt x="902671" y="932343"/>
                  <a:pt x="818204" y="883640"/>
                </a:cubicBezTo>
                <a:lnTo>
                  <a:pt x="798681" y="872267"/>
                </a:lnTo>
                <a:cubicBezTo>
                  <a:pt x="714213" y="823520"/>
                  <a:pt x="684961" y="714653"/>
                  <a:pt x="733736" y="630182"/>
                </a:cubicBezTo>
                <a:lnTo>
                  <a:pt x="818204" y="483985"/>
                </a:lnTo>
                <a:cubicBezTo>
                  <a:pt x="836083" y="453122"/>
                  <a:pt x="824711" y="415748"/>
                  <a:pt x="798681" y="396258"/>
                </a:cubicBezTo>
                <a:cubicBezTo>
                  <a:pt x="860848" y="357256"/>
                  <a:pt x="907449" y="297256"/>
                  <a:pt x="926865" y="226512"/>
                </a:cubicBezTo>
                <a:lnTo>
                  <a:pt x="930173" y="201858"/>
                </a:lnTo>
                <a:lnTo>
                  <a:pt x="934834" y="186841"/>
                </a:lnTo>
                <a:cubicBezTo>
                  <a:pt x="938903" y="166959"/>
                  <a:pt x="941039" y="146374"/>
                  <a:pt x="941039" y="125290"/>
                </a:cubicBezTo>
                <a:cubicBezTo>
                  <a:pt x="941039" y="83122"/>
                  <a:pt x="932493" y="42950"/>
                  <a:pt x="917039" y="6411"/>
                </a:cubicBez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wrap="square" lIns="21431" tIns="21431" rIns="21431" bIns="2143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/>
          </a:p>
        </p:txBody>
      </p:sp>
      <p:sp>
        <p:nvSpPr>
          <p:cNvPr id="21" name="Freeform: Shape 62">
            <a:extLst>
              <a:ext uri="{FF2B5EF4-FFF2-40B4-BE49-F238E27FC236}">
                <a16:creationId xmlns:a16="http://schemas.microsoft.com/office/drawing/2014/main" id="{F466843B-2994-48D2-8B9F-978B31A50AEE}"/>
              </a:ext>
            </a:extLst>
          </p:cNvPr>
          <p:cNvSpPr/>
          <p:nvPr/>
        </p:nvSpPr>
        <p:spPr>
          <a:xfrm>
            <a:off x="4806955" y="2945028"/>
            <a:ext cx="774754" cy="817628"/>
          </a:xfrm>
          <a:custGeom>
            <a:avLst/>
            <a:gdLst>
              <a:gd name="connsiteX0" fmla="*/ 48513 w 1127090"/>
              <a:gd name="connsiteY0" fmla="*/ 642105 h 1189463"/>
              <a:gd name="connsiteX1" fmla="*/ 80053 w 1127090"/>
              <a:gd name="connsiteY1" fmla="*/ 680332 h 1189463"/>
              <a:gd name="connsiteX2" fmla="*/ 234460 w 1127090"/>
              <a:gd name="connsiteY2" fmla="*/ 763579 h 1189463"/>
              <a:gd name="connsiteX3" fmla="*/ 237359 w 1127090"/>
              <a:gd name="connsiteY3" fmla="*/ 763872 h 1189463"/>
              <a:gd name="connsiteX4" fmla="*/ 248234 w 1127090"/>
              <a:gd name="connsiteY4" fmla="*/ 768187 h 1189463"/>
              <a:gd name="connsiteX5" fmla="*/ 444021 w 1127090"/>
              <a:gd name="connsiteY5" fmla="*/ 749229 h 1189463"/>
              <a:gd name="connsiteX6" fmla="*/ 510608 w 1127090"/>
              <a:gd name="connsiteY6" fmla="*/ 814204 h 1189463"/>
              <a:gd name="connsiteX7" fmla="*/ 705554 w 1127090"/>
              <a:gd name="connsiteY7" fmla="*/ 814204 h 1189463"/>
              <a:gd name="connsiteX8" fmla="*/ 882651 w 1127090"/>
              <a:gd name="connsiteY8" fmla="*/ 991294 h 1189463"/>
              <a:gd name="connsiteX9" fmla="*/ 882651 w 1127090"/>
              <a:gd name="connsiteY9" fmla="*/ 1012373 h 1189463"/>
              <a:gd name="connsiteX10" fmla="*/ 705554 w 1127090"/>
              <a:gd name="connsiteY10" fmla="*/ 1189463 h 1189463"/>
              <a:gd name="connsiteX11" fmla="*/ 359530 w 1127090"/>
              <a:gd name="connsiteY11" fmla="*/ 1189463 h 1189463"/>
              <a:gd name="connsiteX12" fmla="*/ 16751 w 1127090"/>
              <a:gd name="connsiteY12" fmla="*/ 726470 h 1189463"/>
              <a:gd name="connsiteX13" fmla="*/ 564404 w 1127090"/>
              <a:gd name="connsiteY13" fmla="*/ 321516 h 1189463"/>
              <a:gd name="connsiteX14" fmla="*/ 567877 w 1127090"/>
              <a:gd name="connsiteY14" fmla="*/ 326866 h 1189463"/>
              <a:gd name="connsiteX15" fmla="*/ 568863 w 1127090"/>
              <a:gd name="connsiteY15" fmla="*/ 329731 h 1189463"/>
              <a:gd name="connsiteX16" fmla="*/ 518640 w 1127090"/>
              <a:gd name="connsiteY16" fmla="*/ 256504 h 1189463"/>
              <a:gd name="connsiteX17" fmla="*/ 527511 w 1127090"/>
              <a:gd name="connsiteY17" fmla="*/ 264681 h 1189463"/>
              <a:gd name="connsiteX18" fmla="*/ 535349 w 1127090"/>
              <a:gd name="connsiteY18" fmla="*/ 276756 h 1189463"/>
              <a:gd name="connsiteX19" fmla="*/ 667994 w 1127090"/>
              <a:gd name="connsiteY19" fmla="*/ 1758 h 1189463"/>
              <a:gd name="connsiteX20" fmla="*/ 942746 w 1127090"/>
              <a:gd name="connsiteY20" fmla="*/ 179043 h 1189463"/>
              <a:gd name="connsiteX21" fmla="*/ 1103560 w 1127090"/>
              <a:gd name="connsiteY21" fmla="*/ 456839 h 1189463"/>
              <a:gd name="connsiteX22" fmla="*/ 1036974 w 1127090"/>
              <a:gd name="connsiteY22" fmla="*/ 700468 h 1189463"/>
              <a:gd name="connsiteX23" fmla="*/ 794914 w 1127090"/>
              <a:gd name="connsiteY23" fmla="*/ 635493 h 1189463"/>
              <a:gd name="connsiteX24" fmla="*/ 705554 w 1127090"/>
              <a:gd name="connsiteY24" fmla="*/ 481161 h 1189463"/>
              <a:gd name="connsiteX25" fmla="*/ 622685 w 1127090"/>
              <a:gd name="connsiteY25" fmla="*/ 453538 h 1189463"/>
              <a:gd name="connsiteX26" fmla="*/ 473230 w 1127090"/>
              <a:gd name="connsiteY26" fmla="*/ 213152 h 1189463"/>
              <a:gd name="connsiteX27" fmla="*/ 471607 w 1127090"/>
              <a:gd name="connsiteY27" fmla="*/ 213152 h 1189463"/>
              <a:gd name="connsiteX28" fmla="*/ 491929 w 1127090"/>
              <a:gd name="connsiteY28" fmla="*/ 231884 h 1189463"/>
              <a:gd name="connsiteX29" fmla="*/ 466768 w 1127090"/>
              <a:gd name="connsiteY29" fmla="*/ 211123 h 1189463"/>
              <a:gd name="connsiteX30" fmla="*/ 357561 w 1127090"/>
              <a:gd name="connsiteY30" fmla="*/ 165169 h 1189463"/>
              <a:gd name="connsiteX31" fmla="*/ 329128 w 1127090"/>
              <a:gd name="connsiteY31" fmla="*/ 162303 h 1189463"/>
              <a:gd name="connsiteX32" fmla="*/ 362775 w 1127090"/>
              <a:gd name="connsiteY32" fmla="*/ 120554 h 1189463"/>
              <a:gd name="connsiteX33" fmla="*/ 667994 w 1127090"/>
              <a:gd name="connsiteY33" fmla="*/ 1758 h 11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127090" h="1189463">
                <a:moveTo>
                  <a:pt x="48513" y="642105"/>
                </a:moveTo>
                <a:lnTo>
                  <a:pt x="80053" y="680332"/>
                </a:lnTo>
                <a:cubicBezTo>
                  <a:pt x="121504" y="721783"/>
                  <a:pt x="174815" y="751374"/>
                  <a:pt x="234460" y="763579"/>
                </a:cubicBezTo>
                <a:lnTo>
                  <a:pt x="237359" y="763872"/>
                </a:lnTo>
                <a:lnTo>
                  <a:pt x="248234" y="768187"/>
                </a:lnTo>
                <a:cubicBezTo>
                  <a:pt x="313937" y="785158"/>
                  <a:pt x="383087" y="777243"/>
                  <a:pt x="444021" y="749229"/>
                </a:cubicBezTo>
                <a:cubicBezTo>
                  <a:pt x="445644" y="783338"/>
                  <a:pt x="473286" y="814204"/>
                  <a:pt x="510608" y="814204"/>
                </a:cubicBezTo>
                <a:lnTo>
                  <a:pt x="705554" y="814204"/>
                </a:lnTo>
                <a:cubicBezTo>
                  <a:pt x="803027" y="814204"/>
                  <a:pt x="882651" y="893831"/>
                  <a:pt x="882651" y="991294"/>
                </a:cubicBezTo>
                <a:lnTo>
                  <a:pt x="882651" y="1012373"/>
                </a:lnTo>
                <a:cubicBezTo>
                  <a:pt x="882651" y="1109836"/>
                  <a:pt x="803027" y="1189463"/>
                  <a:pt x="705554" y="1189463"/>
                </a:cubicBezTo>
                <a:lnTo>
                  <a:pt x="359530" y="1189463"/>
                </a:lnTo>
                <a:cubicBezTo>
                  <a:pt x="119148" y="1189463"/>
                  <a:pt x="-56327" y="955563"/>
                  <a:pt x="16751" y="726470"/>
                </a:cubicBezTo>
                <a:close/>
                <a:moveTo>
                  <a:pt x="564404" y="321516"/>
                </a:moveTo>
                <a:lnTo>
                  <a:pt x="567877" y="326866"/>
                </a:lnTo>
                <a:lnTo>
                  <a:pt x="568863" y="329731"/>
                </a:lnTo>
                <a:close/>
                <a:moveTo>
                  <a:pt x="518640" y="256504"/>
                </a:moveTo>
                <a:lnTo>
                  <a:pt x="527511" y="264681"/>
                </a:lnTo>
                <a:lnTo>
                  <a:pt x="535349" y="276756"/>
                </a:lnTo>
                <a:close/>
                <a:moveTo>
                  <a:pt x="667994" y="1758"/>
                </a:moveTo>
                <a:cubicBezTo>
                  <a:pt x="777036" y="12522"/>
                  <a:pt x="881000" y="72633"/>
                  <a:pt x="942746" y="179043"/>
                </a:cubicBezTo>
                <a:lnTo>
                  <a:pt x="1103560" y="456839"/>
                </a:lnTo>
                <a:cubicBezTo>
                  <a:pt x="1152297" y="541272"/>
                  <a:pt x="1123032" y="650144"/>
                  <a:pt x="1036974" y="700468"/>
                </a:cubicBezTo>
                <a:cubicBezTo>
                  <a:pt x="952482" y="749229"/>
                  <a:pt x="843650" y="719984"/>
                  <a:pt x="794914" y="635493"/>
                </a:cubicBezTo>
                <a:lnTo>
                  <a:pt x="705554" y="481161"/>
                </a:lnTo>
                <a:cubicBezTo>
                  <a:pt x="689327" y="450295"/>
                  <a:pt x="651949" y="440566"/>
                  <a:pt x="622685" y="453538"/>
                </a:cubicBezTo>
                <a:cubicBezTo>
                  <a:pt x="616194" y="354454"/>
                  <a:pt x="564212" y="261855"/>
                  <a:pt x="473230" y="213152"/>
                </a:cubicBezTo>
                <a:cubicBezTo>
                  <a:pt x="471607" y="213152"/>
                  <a:pt x="471607" y="213152"/>
                  <a:pt x="471607" y="213152"/>
                </a:cubicBezTo>
                <a:lnTo>
                  <a:pt x="491929" y="231884"/>
                </a:lnTo>
                <a:lnTo>
                  <a:pt x="466768" y="211123"/>
                </a:lnTo>
                <a:cubicBezTo>
                  <a:pt x="434272" y="189170"/>
                  <a:pt x="397324" y="173306"/>
                  <a:pt x="357561" y="165169"/>
                </a:cubicBezTo>
                <a:lnTo>
                  <a:pt x="329128" y="162303"/>
                </a:lnTo>
                <a:lnTo>
                  <a:pt x="362775" y="120554"/>
                </a:lnTo>
                <a:cubicBezTo>
                  <a:pt x="444833" y="29576"/>
                  <a:pt x="558953" y="-9007"/>
                  <a:pt x="667994" y="1758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21431" tIns="21431" rIns="21431" bIns="2143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/>
          </a:p>
        </p:txBody>
      </p:sp>
      <p:sp>
        <p:nvSpPr>
          <p:cNvPr id="23" name="Freeform: Shape 63">
            <a:extLst>
              <a:ext uri="{FF2B5EF4-FFF2-40B4-BE49-F238E27FC236}">
                <a16:creationId xmlns:a16="http://schemas.microsoft.com/office/drawing/2014/main" id="{1841523B-8BCB-4951-9049-63E30AEC6A66}"/>
              </a:ext>
            </a:extLst>
          </p:cNvPr>
          <p:cNvSpPr/>
          <p:nvPr/>
        </p:nvSpPr>
        <p:spPr>
          <a:xfrm>
            <a:off x="6278545" y="2937949"/>
            <a:ext cx="780397" cy="824712"/>
          </a:xfrm>
          <a:custGeom>
            <a:avLst/>
            <a:gdLst>
              <a:gd name="connsiteX0" fmla="*/ 1081642 w 1135300"/>
              <a:gd name="connsiteY0" fmla="*/ 639618 h 1199769"/>
              <a:gd name="connsiteX1" fmla="*/ 1118529 w 1135300"/>
              <a:gd name="connsiteY1" fmla="*/ 736795 h 1199769"/>
              <a:gd name="connsiteX2" fmla="*/ 775744 w 1135300"/>
              <a:gd name="connsiteY2" fmla="*/ 1199761 h 1199769"/>
              <a:gd name="connsiteX3" fmla="*/ 429747 w 1135300"/>
              <a:gd name="connsiteY3" fmla="*/ 1199761 h 1199769"/>
              <a:gd name="connsiteX4" fmla="*/ 252636 w 1135300"/>
              <a:gd name="connsiteY4" fmla="*/ 1022707 h 1199769"/>
              <a:gd name="connsiteX5" fmla="*/ 252636 w 1135300"/>
              <a:gd name="connsiteY5" fmla="*/ 1001556 h 1199769"/>
              <a:gd name="connsiteX6" fmla="*/ 429747 w 1135300"/>
              <a:gd name="connsiteY6" fmla="*/ 824502 h 1199769"/>
              <a:gd name="connsiteX7" fmla="*/ 624659 w 1135300"/>
              <a:gd name="connsiteY7" fmla="*/ 824502 h 1199769"/>
              <a:gd name="connsiteX8" fmla="*/ 691301 w 1135300"/>
              <a:gd name="connsiteY8" fmla="*/ 764390 h 1199769"/>
              <a:gd name="connsiteX9" fmla="*/ 879998 w 1135300"/>
              <a:gd name="connsiteY9" fmla="*/ 778116 h 1199769"/>
              <a:gd name="connsiteX10" fmla="*/ 901805 w 1135300"/>
              <a:gd name="connsiteY10" fmla="*/ 769216 h 1199769"/>
              <a:gd name="connsiteX11" fmla="*/ 944116 w 1135300"/>
              <a:gd name="connsiteY11" fmla="*/ 756081 h 1199769"/>
              <a:gd name="connsiteX12" fmla="*/ 1078488 w 1135300"/>
              <a:gd name="connsiteY12" fmla="*/ 645430 h 1199769"/>
              <a:gd name="connsiteX13" fmla="*/ 535708 w 1135300"/>
              <a:gd name="connsiteY13" fmla="*/ 1909 h 1199769"/>
              <a:gd name="connsiteX14" fmla="*/ 756252 w 1135300"/>
              <a:gd name="connsiteY14" fmla="*/ 112945 h 1199769"/>
              <a:gd name="connsiteX15" fmla="*/ 804409 w 1135300"/>
              <a:gd name="connsiteY15" fmla="*/ 171362 h 1199769"/>
              <a:gd name="connsiteX16" fmla="*/ 763687 w 1135300"/>
              <a:gd name="connsiteY16" fmla="*/ 175467 h 1199769"/>
              <a:gd name="connsiteX17" fmla="*/ 654480 w 1135300"/>
              <a:gd name="connsiteY17" fmla="*/ 221421 h 1199769"/>
              <a:gd name="connsiteX18" fmla="*/ 652891 w 1135300"/>
              <a:gd name="connsiteY18" fmla="*/ 222732 h 1199769"/>
              <a:gd name="connsiteX19" fmla="*/ 653896 w 1135300"/>
              <a:gd name="connsiteY19" fmla="*/ 221802 h 1199769"/>
              <a:gd name="connsiteX20" fmla="*/ 652318 w 1135300"/>
              <a:gd name="connsiteY20" fmla="*/ 221802 h 1199769"/>
              <a:gd name="connsiteX21" fmla="*/ 502811 w 1135300"/>
              <a:gd name="connsiteY21" fmla="*/ 458968 h 1199769"/>
              <a:gd name="connsiteX22" fmla="*/ 428113 w 1135300"/>
              <a:gd name="connsiteY22" fmla="*/ 489844 h 1199769"/>
              <a:gd name="connsiteX23" fmla="*/ 338769 w 1135300"/>
              <a:gd name="connsiteY23" fmla="*/ 644167 h 1199769"/>
              <a:gd name="connsiteX24" fmla="*/ 96707 w 1135300"/>
              <a:gd name="connsiteY24" fmla="*/ 709141 h 1199769"/>
              <a:gd name="connsiteX25" fmla="*/ 88595 w 1135300"/>
              <a:gd name="connsiteY25" fmla="*/ 704278 h 1199769"/>
              <a:gd name="connsiteX26" fmla="*/ 23587 w 1135300"/>
              <a:gd name="connsiteY26" fmla="*/ 462249 h 1199769"/>
              <a:gd name="connsiteX27" fmla="*/ 186051 w 1135300"/>
              <a:gd name="connsiteY27" fmla="*/ 181200 h 1199769"/>
              <a:gd name="connsiteX28" fmla="*/ 535708 w 1135300"/>
              <a:gd name="connsiteY28" fmla="*/ 1909 h 119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35300" h="1199769">
                <a:moveTo>
                  <a:pt x="1081642" y="639618"/>
                </a:moveTo>
                <a:lnTo>
                  <a:pt x="1118529" y="736795"/>
                </a:lnTo>
                <a:cubicBezTo>
                  <a:pt x="1191649" y="965817"/>
                  <a:pt x="1016229" y="1201402"/>
                  <a:pt x="775744" y="1199761"/>
                </a:cubicBezTo>
                <a:lnTo>
                  <a:pt x="429747" y="1199761"/>
                </a:lnTo>
                <a:cubicBezTo>
                  <a:pt x="332235" y="1199761"/>
                  <a:pt x="252636" y="1120198"/>
                  <a:pt x="252636" y="1022707"/>
                </a:cubicBezTo>
                <a:lnTo>
                  <a:pt x="252636" y="1001556"/>
                </a:lnTo>
                <a:cubicBezTo>
                  <a:pt x="252636" y="904124"/>
                  <a:pt x="332235" y="824502"/>
                  <a:pt x="429747" y="824502"/>
                </a:cubicBezTo>
                <a:lnTo>
                  <a:pt x="624659" y="824502"/>
                </a:lnTo>
                <a:cubicBezTo>
                  <a:pt x="662064" y="824502"/>
                  <a:pt x="688033" y="796907"/>
                  <a:pt x="691301" y="764390"/>
                </a:cubicBezTo>
                <a:cubicBezTo>
                  <a:pt x="751000" y="790008"/>
                  <a:pt x="817099" y="795490"/>
                  <a:pt x="879998" y="778116"/>
                </a:cubicBezTo>
                <a:lnTo>
                  <a:pt x="901805" y="769216"/>
                </a:lnTo>
                <a:lnTo>
                  <a:pt x="944116" y="756081"/>
                </a:lnTo>
                <a:cubicBezTo>
                  <a:pt x="998925" y="732900"/>
                  <a:pt x="1045557" y="694173"/>
                  <a:pt x="1078488" y="645430"/>
                </a:cubicBezTo>
                <a:close/>
                <a:moveTo>
                  <a:pt x="535708" y="1909"/>
                </a:moveTo>
                <a:cubicBezTo>
                  <a:pt x="616588" y="10309"/>
                  <a:pt x="695328" y="46549"/>
                  <a:pt x="756252" y="112945"/>
                </a:cubicBezTo>
                <a:lnTo>
                  <a:pt x="804409" y="171362"/>
                </a:lnTo>
                <a:lnTo>
                  <a:pt x="763687" y="175467"/>
                </a:lnTo>
                <a:cubicBezTo>
                  <a:pt x="723924" y="183604"/>
                  <a:pt x="686976" y="199468"/>
                  <a:pt x="654480" y="221421"/>
                </a:cubicBezTo>
                <a:lnTo>
                  <a:pt x="652891" y="222732"/>
                </a:lnTo>
                <a:lnTo>
                  <a:pt x="653896" y="221802"/>
                </a:lnTo>
                <a:cubicBezTo>
                  <a:pt x="652318" y="221802"/>
                  <a:pt x="652318" y="221802"/>
                  <a:pt x="652318" y="221802"/>
                </a:cubicBezTo>
                <a:cubicBezTo>
                  <a:pt x="561341" y="270548"/>
                  <a:pt x="509345" y="361536"/>
                  <a:pt x="502811" y="458968"/>
                </a:cubicBezTo>
                <a:cubicBezTo>
                  <a:pt x="475208" y="452465"/>
                  <a:pt x="444337" y="462249"/>
                  <a:pt x="428113" y="489844"/>
                </a:cubicBezTo>
                <a:lnTo>
                  <a:pt x="338769" y="644167"/>
                </a:lnTo>
                <a:cubicBezTo>
                  <a:pt x="290041" y="728651"/>
                  <a:pt x="181150" y="757887"/>
                  <a:pt x="96707" y="709141"/>
                </a:cubicBezTo>
                <a:lnTo>
                  <a:pt x="88595" y="704278"/>
                </a:lnTo>
                <a:cubicBezTo>
                  <a:pt x="4096" y="655533"/>
                  <a:pt x="-25142" y="546734"/>
                  <a:pt x="23587" y="462249"/>
                </a:cubicBezTo>
                <a:lnTo>
                  <a:pt x="186051" y="181200"/>
                </a:lnTo>
                <a:cubicBezTo>
                  <a:pt x="260164" y="51244"/>
                  <a:pt x="400908" y="-12091"/>
                  <a:pt x="535708" y="1909"/>
                </a:cubicBez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wrap="square" lIns="21431" tIns="21431" rIns="21431" bIns="2143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/>
          </a:p>
        </p:txBody>
      </p:sp>
      <p:sp>
        <p:nvSpPr>
          <p:cNvPr id="24" name="Freeform: Shape 64">
            <a:extLst>
              <a:ext uri="{FF2B5EF4-FFF2-40B4-BE49-F238E27FC236}">
                <a16:creationId xmlns:a16="http://schemas.microsoft.com/office/drawing/2014/main" id="{373C34AE-1657-4A99-9371-0001625079B7}"/>
              </a:ext>
            </a:extLst>
          </p:cNvPr>
          <p:cNvSpPr/>
          <p:nvPr/>
        </p:nvSpPr>
        <p:spPr>
          <a:xfrm>
            <a:off x="5505138" y="4338680"/>
            <a:ext cx="871418" cy="630072"/>
          </a:xfrm>
          <a:custGeom>
            <a:avLst/>
            <a:gdLst>
              <a:gd name="connsiteX0" fmla="*/ 883182 w 1267716"/>
              <a:gd name="connsiteY0" fmla="*/ 6165 h 916612"/>
              <a:gd name="connsiteX1" fmla="*/ 1058643 w 1267716"/>
              <a:gd name="connsiteY1" fmla="*/ 93437 h 916612"/>
              <a:gd name="connsiteX2" fmla="*/ 1219465 w 1267716"/>
              <a:gd name="connsiteY2" fmla="*/ 371247 h 916612"/>
              <a:gd name="connsiteX3" fmla="*/ 985537 w 1267716"/>
              <a:gd name="connsiteY3" fmla="*/ 902470 h 916612"/>
              <a:gd name="connsiteX4" fmla="*/ 894904 w 1267716"/>
              <a:gd name="connsiteY4" fmla="*/ 916612 h 916612"/>
              <a:gd name="connsiteX5" fmla="*/ 915236 w 1267716"/>
              <a:gd name="connsiteY5" fmla="*/ 879153 h 916612"/>
              <a:gd name="connsiteX6" fmla="*/ 939236 w 1267716"/>
              <a:gd name="connsiteY6" fmla="*/ 760274 h 916612"/>
              <a:gd name="connsiteX7" fmla="*/ 933031 w 1267716"/>
              <a:gd name="connsiteY7" fmla="*/ 698724 h 916612"/>
              <a:gd name="connsiteX8" fmla="*/ 931837 w 1267716"/>
              <a:gd name="connsiteY8" fmla="*/ 694874 h 916612"/>
              <a:gd name="connsiteX9" fmla="*/ 927825 w 1267716"/>
              <a:gd name="connsiteY9" fmla="*/ 660024 h 916612"/>
              <a:gd name="connsiteX10" fmla="*/ 831200 w 1267716"/>
              <a:gd name="connsiteY10" fmla="*/ 504465 h 916612"/>
              <a:gd name="connsiteX11" fmla="*/ 840961 w 1267716"/>
              <a:gd name="connsiteY11" fmla="*/ 424855 h 916612"/>
              <a:gd name="connsiteX12" fmla="*/ 751609 w 1267716"/>
              <a:gd name="connsiteY12" fmla="*/ 270497 h 916612"/>
              <a:gd name="connsiteX13" fmla="*/ 816592 w 1267716"/>
              <a:gd name="connsiteY13" fmla="*/ 28456 h 916612"/>
              <a:gd name="connsiteX14" fmla="*/ 883182 w 1267716"/>
              <a:gd name="connsiteY14" fmla="*/ 6165 h 916612"/>
              <a:gd name="connsiteX15" fmla="*/ 386080 w 1267716"/>
              <a:gd name="connsiteY15" fmla="*/ 1304 h 916612"/>
              <a:gd name="connsiteX16" fmla="*/ 452697 w 1267716"/>
              <a:gd name="connsiteY16" fmla="*/ 23594 h 916612"/>
              <a:gd name="connsiteX17" fmla="*/ 460820 w 1267716"/>
              <a:gd name="connsiteY17" fmla="*/ 28456 h 916612"/>
              <a:gd name="connsiteX18" fmla="*/ 525804 w 1267716"/>
              <a:gd name="connsiteY18" fmla="*/ 270497 h 916612"/>
              <a:gd name="connsiteX19" fmla="*/ 436451 w 1267716"/>
              <a:gd name="connsiteY19" fmla="*/ 424855 h 916612"/>
              <a:gd name="connsiteX20" fmla="*/ 441299 w 1267716"/>
              <a:gd name="connsiteY20" fmla="*/ 499559 h 916612"/>
              <a:gd name="connsiteX21" fmla="*/ 340132 w 1267716"/>
              <a:gd name="connsiteY21" fmla="*/ 657884 h 916612"/>
              <a:gd name="connsiteX22" fmla="*/ 335856 w 1267716"/>
              <a:gd name="connsiteY22" fmla="*/ 694745 h 916612"/>
              <a:gd name="connsiteX23" fmla="*/ 334621 w 1267716"/>
              <a:gd name="connsiteY23" fmla="*/ 698724 h 916612"/>
              <a:gd name="connsiteX24" fmla="*/ 328416 w 1267716"/>
              <a:gd name="connsiteY24" fmla="*/ 760274 h 916612"/>
              <a:gd name="connsiteX25" fmla="*/ 352417 w 1267716"/>
              <a:gd name="connsiteY25" fmla="*/ 879153 h 916612"/>
              <a:gd name="connsiteX26" fmla="*/ 371629 w 1267716"/>
              <a:gd name="connsiteY26" fmla="*/ 914550 h 916612"/>
              <a:gd name="connsiteX27" fmla="*/ 285390 w 1267716"/>
              <a:gd name="connsiteY27" fmla="*/ 900820 h 916612"/>
              <a:gd name="connsiteX28" fmla="*/ 48187 w 1267716"/>
              <a:gd name="connsiteY28" fmla="*/ 369596 h 916612"/>
              <a:gd name="connsiteX29" fmla="*/ 210646 w 1267716"/>
              <a:gd name="connsiteY29" fmla="*/ 88576 h 916612"/>
              <a:gd name="connsiteX30" fmla="*/ 386080 w 1267716"/>
              <a:gd name="connsiteY30" fmla="*/ 1304 h 916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67716" h="916612">
                <a:moveTo>
                  <a:pt x="883182" y="6165"/>
                </a:moveTo>
                <a:cubicBezTo>
                  <a:pt x="951710" y="-2212"/>
                  <a:pt x="1022090" y="30084"/>
                  <a:pt x="1058643" y="93437"/>
                </a:cubicBezTo>
                <a:lnTo>
                  <a:pt x="1219465" y="371247"/>
                </a:lnTo>
                <a:cubicBezTo>
                  <a:pt x="1341309" y="584030"/>
                  <a:pt x="1221102" y="852073"/>
                  <a:pt x="985537" y="902470"/>
                </a:cubicBezTo>
                <a:lnTo>
                  <a:pt x="894904" y="916612"/>
                </a:lnTo>
                <a:lnTo>
                  <a:pt x="915236" y="879153"/>
                </a:lnTo>
                <a:cubicBezTo>
                  <a:pt x="930690" y="842615"/>
                  <a:pt x="939236" y="802443"/>
                  <a:pt x="939236" y="760274"/>
                </a:cubicBezTo>
                <a:cubicBezTo>
                  <a:pt x="939236" y="739190"/>
                  <a:pt x="937100" y="718605"/>
                  <a:pt x="933031" y="698724"/>
                </a:cubicBezTo>
                <a:lnTo>
                  <a:pt x="931837" y="694874"/>
                </a:lnTo>
                <a:lnTo>
                  <a:pt x="927825" y="660024"/>
                </a:lnTo>
                <a:cubicBezTo>
                  <a:pt x="913433" y="598575"/>
                  <a:pt x="878710" y="544672"/>
                  <a:pt x="831200" y="504465"/>
                </a:cubicBezTo>
                <a:cubicBezTo>
                  <a:pt x="850722" y="483325"/>
                  <a:pt x="857207" y="452462"/>
                  <a:pt x="840961" y="424855"/>
                </a:cubicBezTo>
                <a:lnTo>
                  <a:pt x="751609" y="270497"/>
                </a:lnTo>
                <a:cubicBezTo>
                  <a:pt x="702871" y="186025"/>
                  <a:pt x="732087" y="77203"/>
                  <a:pt x="816592" y="28456"/>
                </a:cubicBezTo>
                <a:cubicBezTo>
                  <a:pt x="837702" y="16269"/>
                  <a:pt x="860339" y="8958"/>
                  <a:pt x="883182" y="6165"/>
                </a:cubicBezTo>
                <a:close/>
                <a:moveTo>
                  <a:pt x="386080" y="1304"/>
                </a:moveTo>
                <a:cubicBezTo>
                  <a:pt x="408926" y="4096"/>
                  <a:pt x="431571" y="11408"/>
                  <a:pt x="452697" y="23594"/>
                </a:cubicBezTo>
                <a:lnTo>
                  <a:pt x="460820" y="28456"/>
                </a:lnTo>
                <a:cubicBezTo>
                  <a:pt x="545259" y="77203"/>
                  <a:pt x="574541" y="186025"/>
                  <a:pt x="525804" y="270497"/>
                </a:cubicBezTo>
                <a:lnTo>
                  <a:pt x="436451" y="424855"/>
                </a:lnTo>
                <a:cubicBezTo>
                  <a:pt x="421843" y="449206"/>
                  <a:pt x="425053" y="478464"/>
                  <a:pt x="441299" y="499559"/>
                </a:cubicBezTo>
                <a:cubicBezTo>
                  <a:pt x="391382" y="539766"/>
                  <a:pt x="355135" y="594598"/>
                  <a:pt x="340132" y="657884"/>
                </a:cubicBezTo>
                <a:lnTo>
                  <a:pt x="335856" y="694745"/>
                </a:lnTo>
                <a:lnTo>
                  <a:pt x="334621" y="698724"/>
                </a:lnTo>
                <a:cubicBezTo>
                  <a:pt x="330553" y="718605"/>
                  <a:pt x="328416" y="739190"/>
                  <a:pt x="328416" y="760274"/>
                </a:cubicBezTo>
                <a:cubicBezTo>
                  <a:pt x="328416" y="802443"/>
                  <a:pt x="336962" y="842615"/>
                  <a:pt x="352417" y="879153"/>
                </a:cubicBezTo>
                <a:lnTo>
                  <a:pt x="371629" y="914550"/>
                </a:lnTo>
                <a:lnTo>
                  <a:pt x="285390" y="900820"/>
                </a:lnTo>
                <a:cubicBezTo>
                  <a:pt x="46549" y="848862"/>
                  <a:pt x="-73658" y="580819"/>
                  <a:pt x="48187" y="369596"/>
                </a:cubicBezTo>
                <a:lnTo>
                  <a:pt x="210646" y="88576"/>
                </a:lnTo>
                <a:cubicBezTo>
                  <a:pt x="247199" y="25222"/>
                  <a:pt x="317542" y="-7074"/>
                  <a:pt x="386080" y="130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21431" tIns="21431" rIns="21431" bIns="2143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/>
          </a:p>
        </p:txBody>
      </p:sp>
      <p:sp>
        <p:nvSpPr>
          <p:cNvPr id="25" name="Freeform: Shape 65">
            <a:extLst>
              <a:ext uri="{FF2B5EF4-FFF2-40B4-BE49-F238E27FC236}">
                <a16:creationId xmlns:a16="http://schemas.microsoft.com/office/drawing/2014/main" id="{0D4F4FCD-F985-4FCD-A18A-CB0B12B8DD48}"/>
              </a:ext>
            </a:extLst>
          </p:cNvPr>
          <p:cNvSpPr/>
          <p:nvPr/>
        </p:nvSpPr>
        <p:spPr>
          <a:xfrm>
            <a:off x="4806974" y="3849736"/>
            <a:ext cx="774019" cy="818089"/>
          </a:xfrm>
          <a:custGeom>
            <a:avLst/>
            <a:gdLst>
              <a:gd name="connsiteX0" fmla="*/ 950840 w 1126021"/>
              <a:gd name="connsiteY0" fmla="*/ 458566 h 1190134"/>
              <a:gd name="connsiteX1" fmla="*/ 1017447 w 1126021"/>
              <a:gd name="connsiteY1" fmla="*/ 480872 h 1190134"/>
              <a:gd name="connsiteX2" fmla="*/ 1036948 w 1126021"/>
              <a:gd name="connsiteY2" fmla="*/ 492237 h 1190134"/>
              <a:gd name="connsiteX3" fmla="*/ 1103557 w 1126021"/>
              <a:gd name="connsiteY3" fmla="*/ 732644 h 1190134"/>
              <a:gd name="connsiteX4" fmla="*/ 942736 w 1126021"/>
              <a:gd name="connsiteY4" fmla="*/ 1010452 h 1190134"/>
              <a:gd name="connsiteX5" fmla="*/ 362763 w 1126021"/>
              <a:gd name="connsiteY5" fmla="*/ 1068901 h 1190134"/>
              <a:gd name="connsiteX6" fmla="*/ 302232 w 1126021"/>
              <a:gd name="connsiteY6" fmla="*/ 993823 h 1190134"/>
              <a:gd name="connsiteX7" fmla="*/ 302808 w 1126021"/>
              <a:gd name="connsiteY7" fmla="*/ 993881 h 1190134"/>
              <a:gd name="connsiteX8" fmla="*/ 473566 w 1126021"/>
              <a:gd name="connsiteY8" fmla="*/ 941722 h 1190134"/>
              <a:gd name="connsiteX9" fmla="*/ 477395 w 1126021"/>
              <a:gd name="connsiteY9" fmla="*/ 938562 h 1190134"/>
              <a:gd name="connsiteX10" fmla="*/ 471616 w 1126021"/>
              <a:gd name="connsiteY10" fmla="*/ 943827 h 1190134"/>
              <a:gd name="connsiteX11" fmla="*/ 473237 w 1126021"/>
              <a:gd name="connsiteY11" fmla="*/ 943827 h 1190134"/>
              <a:gd name="connsiteX12" fmla="*/ 619473 w 1126021"/>
              <a:gd name="connsiteY12" fmla="*/ 724526 h 1190134"/>
              <a:gd name="connsiteX13" fmla="*/ 690943 w 1126021"/>
              <a:gd name="connsiteY13" fmla="*/ 692055 h 1190134"/>
              <a:gd name="connsiteX14" fmla="*/ 775433 w 1126021"/>
              <a:gd name="connsiteY14" fmla="*/ 545816 h 1190134"/>
              <a:gd name="connsiteX15" fmla="*/ 950840 w 1126021"/>
              <a:gd name="connsiteY15" fmla="*/ 458566 h 1190134"/>
              <a:gd name="connsiteX16" fmla="*/ 359522 w 1126021"/>
              <a:gd name="connsiteY16" fmla="*/ 0 h 1190134"/>
              <a:gd name="connsiteX17" fmla="*/ 705584 w 1126021"/>
              <a:gd name="connsiteY17" fmla="*/ 0 h 1190134"/>
              <a:gd name="connsiteX18" fmla="*/ 882610 w 1126021"/>
              <a:gd name="connsiteY18" fmla="*/ 177087 h 1190134"/>
              <a:gd name="connsiteX19" fmla="*/ 882610 w 1126021"/>
              <a:gd name="connsiteY19" fmla="*/ 188452 h 1190134"/>
              <a:gd name="connsiteX20" fmla="*/ 705584 w 1126021"/>
              <a:gd name="connsiteY20" fmla="*/ 365481 h 1190134"/>
              <a:gd name="connsiteX21" fmla="*/ 505759 w 1126021"/>
              <a:gd name="connsiteY21" fmla="*/ 365481 h 1190134"/>
              <a:gd name="connsiteX22" fmla="*/ 444012 w 1126021"/>
              <a:gd name="connsiteY22" fmla="*/ 406129 h 1190134"/>
              <a:gd name="connsiteX23" fmla="*/ 248237 w 1126021"/>
              <a:gd name="connsiteY23" fmla="*/ 387179 h 1190134"/>
              <a:gd name="connsiteX24" fmla="*/ 243562 w 1126021"/>
              <a:gd name="connsiteY24" fmla="*/ 389034 h 1190134"/>
              <a:gd name="connsiteX25" fmla="*/ 241258 w 1126021"/>
              <a:gd name="connsiteY25" fmla="*/ 389266 h 1190134"/>
              <a:gd name="connsiteX26" fmla="*/ 49558 w 1126021"/>
              <a:gd name="connsiteY26" fmla="*/ 517714 h 1190134"/>
              <a:gd name="connsiteX27" fmla="*/ 42330 w 1126021"/>
              <a:gd name="connsiteY27" fmla="*/ 531030 h 1190134"/>
              <a:gd name="connsiteX28" fmla="*/ 16758 w 1126021"/>
              <a:gd name="connsiteY28" fmla="*/ 462955 h 1190134"/>
              <a:gd name="connsiteX29" fmla="*/ 359522 w 1126021"/>
              <a:gd name="connsiteY29" fmla="*/ 0 h 1190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126021" h="1190134">
                <a:moveTo>
                  <a:pt x="950840" y="458566"/>
                </a:moveTo>
                <a:cubicBezTo>
                  <a:pt x="973683" y="461364"/>
                  <a:pt x="996324" y="468681"/>
                  <a:pt x="1017447" y="480872"/>
                </a:cubicBezTo>
                <a:lnTo>
                  <a:pt x="1036948" y="492237"/>
                </a:lnTo>
                <a:cubicBezTo>
                  <a:pt x="1121438" y="540945"/>
                  <a:pt x="1150663" y="649783"/>
                  <a:pt x="1103557" y="732644"/>
                </a:cubicBezTo>
                <a:lnTo>
                  <a:pt x="942736" y="1010452"/>
                </a:lnTo>
                <a:cubicBezTo>
                  <a:pt x="820919" y="1223258"/>
                  <a:pt x="526881" y="1252482"/>
                  <a:pt x="362763" y="1068901"/>
                </a:cubicBezTo>
                <a:lnTo>
                  <a:pt x="302232" y="993823"/>
                </a:lnTo>
                <a:lnTo>
                  <a:pt x="302808" y="993881"/>
                </a:lnTo>
                <a:cubicBezTo>
                  <a:pt x="366061" y="993881"/>
                  <a:pt x="424822" y="974653"/>
                  <a:pt x="473566" y="941722"/>
                </a:cubicBezTo>
                <a:lnTo>
                  <a:pt x="477395" y="938562"/>
                </a:lnTo>
                <a:lnTo>
                  <a:pt x="471616" y="943827"/>
                </a:lnTo>
                <a:cubicBezTo>
                  <a:pt x="473237" y="943827"/>
                  <a:pt x="473237" y="943827"/>
                  <a:pt x="473237" y="943827"/>
                </a:cubicBezTo>
                <a:cubicBezTo>
                  <a:pt x="556106" y="898366"/>
                  <a:pt x="608074" y="815505"/>
                  <a:pt x="619473" y="724526"/>
                </a:cubicBezTo>
                <a:cubicBezTo>
                  <a:pt x="647078" y="729397"/>
                  <a:pt x="676303" y="718032"/>
                  <a:pt x="690943" y="692055"/>
                </a:cubicBezTo>
                <a:lnTo>
                  <a:pt x="775433" y="545816"/>
                </a:lnTo>
                <a:cubicBezTo>
                  <a:pt x="811978" y="482452"/>
                  <a:pt x="882313" y="450173"/>
                  <a:pt x="950840" y="458566"/>
                </a:cubicBezTo>
                <a:close/>
                <a:moveTo>
                  <a:pt x="359522" y="0"/>
                </a:moveTo>
                <a:lnTo>
                  <a:pt x="705584" y="0"/>
                </a:lnTo>
                <a:cubicBezTo>
                  <a:pt x="803037" y="0"/>
                  <a:pt x="882610" y="79614"/>
                  <a:pt x="882610" y="177087"/>
                </a:cubicBezTo>
                <a:lnTo>
                  <a:pt x="882610" y="188452"/>
                </a:lnTo>
                <a:cubicBezTo>
                  <a:pt x="882610" y="285926"/>
                  <a:pt x="803037" y="365481"/>
                  <a:pt x="705584" y="365481"/>
                </a:cubicBezTo>
                <a:lnTo>
                  <a:pt x="505759" y="365481"/>
                </a:lnTo>
                <a:cubicBezTo>
                  <a:pt x="476478" y="365481"/>
                  <a:pt x="453735" y="383399"/>
                  <a:pt x="444012" y="406129"/>
                </a:cubicBezTo>
                <a:cubicBezTo>
                  <a:pt x="383076" y="378122"/>
                  <a:pt x="313935" y="370207"/>
                  <a:pt x="248237" y="387179"/>
                </a:cubicBezTo>
                <a:lnTo>
                  <a:pt x="243562" y="389034"/>
                </a:lnTo>
                <a:lnTo>
                  <a:pt x="241258" y="389266"/>
                </a:lnTo>
                <a:cubicBezTo>
                  <a:pt x="161732" y="405539"/>
                  <a:pt x="93465" y="452722"/>
                  <a:pt x="49558" y="517714"/>
                </a:cubicBezTo>
                <a:lnTo>
                  <a:pt x="42330" y="531030"/>
                </a:lnTo>
                <a:lnTo>
                  <a:pt x="16758" y="462955"/>
                </a:lnTo>
                <a:cubicBezTo>
                  <a:pt x="-56333" y="233913"/>
                  <a:pt x="119129" y="0"/>
                  <a:pt x="359522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21431" tIns="21431" rIns="21431" bIns="2143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/>
          </a:p>
        </p:txBody>
      </p:sp>
      <p:sp>
        <p:nvSpPr>
          <p:cNvPr id="26" name="Freeform: Shape 66">
            <a:extLst>
              <a:ext uri="{FF2B5EF4-FFF2-40B4-BE49-F238E27FC236}">
                <a16:creationId xmlns:a16="http://schemas.microsoft.com/office/drawing/2014/main" id="{0F5F4393-B0B6-4CDC-82DE-712BE481B998}"/>
              </a:ext>
            </a:extLst>
          </p:cNvPr>
          <p:cNvSpPr/>
          <p:nvPr/>
        </p:nvSpPr>
        <p:spPr>
          <a:xfrm>
            <a:off x="6278519" y="3849736"/>
            <a:ext cx="780836" cy="825340"/>
          </a:xfrm>
          <a:custGeom>
            <a:avLst/>
            <a:gdLst>
              <a:gd name="connsiteX0" fmla="*/ 182807 w 1135938"/>
              <a:gd name="connsiteY0" fmla="*/ 458559 h 1200682"/>
              <a:gd name="connsiteX1" fmla="*/ 358261 w 1135938"/>
              <a:gd name="connsiteY1" fmla="*/ 545852 h 1200682"/>
              <a:gd name="connsiteX2" fmla="*/ 442702 w 1135938"/>
              <a:gd name="connsiteY2" fmla="*/ 692013 h 1200682"/>
              <a:gd name="connsiteX3" fmla="*/ 504468 w 1135938"/>
              <a:gd name="connsiteY3" fmla="*/ 724545 h 1200682"/>
              <a:gd name="connsiteX4" fmla="*/ 650676 w 1135938"/>
              <a:gd name="connsiteY4" fmla="*/ 943846 h 1200682"/>
              <a:gd name="connsiteX5" fmla="*/ 652312 w 1135938"/>
              <a:gd name="connsiteY5" fmla="*/ 943846 h 1200682"/>
              <a:gd name="connsiteX6" fmla="*/ 602145 w 1135938"/>
              <a:gd name="connsiteY6" fmla="*/ 898510 h 1200682"/>
              <a:gd name="connsiteX7" fmla="*/ 588921 w 1135938"/>
              <a:gd name="connsiteY7" fmla="*/ 879709 h 1200682"/>
              <a:gd name="connsiteX8" fmla="*/ 609316 w 1135938"/>
              <a:gd name="connsiteY8" fmla="*/ 904429 h 1200682"/>
              <a:gd name="connsiteX9" fmla="*/ 825273 w 1135938"/>
              <a:gd name="connsiteY9" fmla="*/ 993881 h 1200682"/>
              <a:gd name="connsiteX10" fmla="*/ 834865 w 1135938"/>
              <a:gd name="connsiteY10" fmla="*/ 992914 h 1200682"/>
              <a:gd name="connsiteX11" fmla="*/ 756270 w 1135938"/>
              <a:gd name="connsiteY11" fmla="*/ 1088427 h 1200682"/>
              <a:gd name="connsiteX12" fmla="*/ 186049 w 1135938"/>
              <a:gd name="connsiteY12" fmla="*/ 1020144 h 1200682"/>
              <a:gd name="connsiteX13" fmla="*/ 23596 w 1135938"/>
              <a:gd name="connsiteY13" fmla="*/ 739115 h 1200682"/>
              <a:gd name="connsiteX14" fmla="*/ 88578 w 1135938"/>
              <a:gd name="connsiteY14" fmla="*/ 497112 h 1200682"/>
              <a:gd name="connsiteX15" fmla="*/ 116217 w 1135938"/>
              <a:gd name="connsiteY15" fmla="*/ 480846 h 1200682"/>
              <a:gd name="connsiteX16" fmla="*/ 182807 w 1135938"/>
              <a:gd name="connsiteY16" fmla="*/ 458559 h 1200682"/>
              <a:gd name="connsiteX17" fmla="*/ 431364 w 1135938"/>
              <a:gd name="connsiteY17" fmla="*/ 0 h 1200682"/>
              <a:gd name="connsiteX18" fmla="*/ 777366 w 1135938"/>
              <a:gd name="connsiteY18" fmla="*/ 0 h 1200682"/>
              <a:gd name="connsiteX19" fmla="*/ 1118517 w 1135938"/>
              <a:gd name="connsiteY19" fmla="*/ 464580 h 1200682"/>
              <a:gd name="connsiteX20" fmla="*/ 1090118 w 1135938"/>
              <a:gd name="connsiteY20" fmla="*/ 539075 h 1200682"/>
              <a:gd name="connsiteX21" fmla="*/ 1078524 w 1135938"/>
              <a:gd name="connsiteY21" fmla="*/ 517714 h 1200682"/>
              <a:gd name="connsiteX22" fmla="*/ 886824 w 1135938"/>
              <a:gd name="connsiteY22" fmla="*/ 389266 h 1200682"/>
              <a:gd name="connsiteX23" fmla="*/ 882266 w 1135938"/>
              <a:gd name="connsiteY23" fmla="*/ 388807 h 1200682"/>
              <a:gd name="connsiteX24" fmla="*/ 879726 w 1135938"/>
              <a:gd name="connsiteY24" fmla="*/ 387785 h 1200682"/>
              <a:gd name="connsiteX25" fmla="*/ 689653 w 1135938"/>
              <a:gd name="connsiteY25" fmla="*/ 402850 h 1200682"/>
              <a:gd name="connsiteX26" fmla="*/ 631159 w 1135938"/>
              <a:gd name="connsiteY26" fmla="*/ 365520 h 1200682"/>
              <a:gd name="connsiteX27" fmla="*/ 431364 w 1135938"/>
              <a:gd name="connsiteY27" fmla="*/ 365520 h 1200682"/>
              <a:gd name="connsiteX28" fmla="*/ 254302 w 1135938"/>
              <a:gd name="connsiteY28" fmla="*/ 188465 h 1200682"/>
              <a:gd name="connsiteX29" fmla="*/ 254302 w 1135938"/>
              <a:gd name="connsiteY29" fmla="*/ 177055 h 1200682"/>
              <a:gd name="connsiteX30" fmla="*/ 431364 w 1135938"/>
              <a:gd name="connsiteY30" fmla="*/ 0 h 1200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35938" h="1200682">
                <a:moveTo>
                  <a:pt x="182807" y="458559"/>
                </a:moveTo>
                <a:cubicBezTo>
                  <a:pt x="251334" y="450186"/>
                  <a:pt x="321709" y="482484"/>
                  <a:pt x="358261" y="545852"/>
                </a:cubicBezTo>
                <a:lnTo>
                  <a:pt x="442702" y="692013"/>
                </a:lnTo>
                <a:cubicBezTo>
                  <a:pt x="455732" y="714774"/>
                  <a:pt x="480100" y="726125"/>
                  <a:pt x="504468" y="724545"/>
                </a:cubicBezTo>
                <a:cubicBezTo>
                  <a:pt x="515806" y="815472"/>
                  <a:pt x="566178" y="898324"/>
                  <a:pt x="650676" y="943846"/>
                </a:cubicBezTo>
                <a:cubicBezTo>
                  <a:pt x="652312" y="943846"/>
                  <a:pt x="652312" y="943846"/>
                  <a:pt x="652312" y="943846"/>
                </a:cubicBezTo>
                <a:cubicBezTo>
                  <a:pt x="633627" y="930432"/>
                  <a:pt x="616870" y="915193"/>
                  <a:pt x="602145" y="898510"/>
                </a:cubicBezTo>
                <a:lnTo>
                  <a:pt x="588921" y="879709"/>
                </a:lnTo>
                <a:lnTo>
                  <a:pt x="609316" y="904429"/>
                </a:lnTo>
                <a:cubicBezTo>
                  <a:pt x="664584" y="959697"/>
                  <a:pt x="740937" y="993881"/>
                  <a:pt x="825273" y="993881"/>
                </a:cubicBezTo>
                <a:lnTo>
                  <a:pt x="834865" y="992914"/>
                </a:lnTo>
                <a:lnTo>
                  <a:pt x="756270" y="1088427"/>
                </a:lnTo>
                <a:cubicBezTo>
                  <a:pt x="593817" y="1263844"/>
                  <a:pt x="306253" y="1228093"/>
                  <a:pt x="186049" y="1020144"/>
                </a:cubicBezTo>
                <a:lnTo>
                  <a:pt x="23596" y="739115"/>
                </a:lnTo>
                <a:cubicBezTo>
                  <a:pt x="-25140" y="654683"/>
                  <a:pt x="4080" y="545852"/>
                  <a:pt x="88578" y="497112"/>
                </a:cubicBezTo>
                <a:lnTo>
                  <a:pt x="116217" y="480846"/>
                </a:lnTo>
                <a:cubicBezTo>
                  <a:pt x="137328" y="468661"/>
                  <a:pt x="159965" y="461351"/>
                  <a:pt x="182807" y="458559"/>
                </a:cubicBezTo>
                <a:close/>
                <a:moveTo>
                  <a:pt x="431364" y="0"/>
                </a:moveTo>
                <a:lnTo>
                  <a:pt x="777366" y="0"/>
                </a:lnTo>
                <a:cubicBezTo>
                  <a:pt x="1017830" y="0"/>
                  <a:pt x="1193257" y="235567"/>
                  <a:pt x="1118517" y="464580"/>
                </a:cubicBezTo>
                <a:lnTo>
                  <a:pt x="1090118" y="539075"/>
                </a:lnTo>
                <a:lnTo>
                  <a:pt x="1078524" y="517714"/>
                </a:lnTo>
                <a:cubicBezTo>
                  <a:pt x="1034616" y="452722"/>
                  <a:pt x="966350" y="405539"/>
                  <a:pt x="886824" y="389266"/>
                </a:cubicBezTo>
                <a:lnTo>
                  <a:pt x="882266" y="388807"/>
                </a:lnTo>
                <a:lnTo>
                  <a:pt x="879726" y="387785"/>
                </a:lnTo>
                <a:cubicBezTo>
                  <a:pt x="816368" y="370870"/>
                  <a:pt x="749346" y="377266"/>
                  <a:pt x="689653" y="402850"/>
                </a:cubicBezTo>
                <a:cubicBezTo>
                  <a:pt x="679895" y="381728"/>
                  <a:pt x="658798" y="365520"/>
                  <a:pt x="631159" y="365520"/>
                </a:cubicBezTo>
                <a:lnTo>
                  <a:pt x="431364" y="365520"/>
                </a:lnTo>
                <a:cubicBezTo>
                  <a:pt x="333893" y="365520"/>
                  <a:pt x="254302" y="285886"/>
                  <a:pt x="254302" y="188465"/>
                </a:cubicBezTo>
                <a:lnTo>
                  <a:pt x="254302" y="177055"/>
                </a:lnTo>
                <a:cubicBezTo>
                  <a:pt x="254302" y="79575"/>
                  <a:pt x="333893" y="0"/>
                  <a:pt x="431364" y="0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wrap="square" lIns="21431" tIns="21431" rIns="21431" bIns="21431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 sz="1400"/>
          </a:p>
        </p:txBody>
      </p:sp>
      <p:sp>
        <p:nvSpPr>
          <p:cNvPr id="27" name="Circle">
            <a:extLst>
              <a:ext uri="{FF2B5EF4-FFF2-40B4-BE49-F238E27FC236}">
                <a16:creationId xmlns:a16="http://schemas.microsoft.com/office/drawing/2014/main" id="{DA08EF65-45F2-40B5-B566-128905A32FD1}"/>
              </a:ext>
            </a:extLst>
          </p:cNvPr>
          <p:cNvSpPr/>
          <p:nvPr/>
        </p:nvSpPr>
        <p:spPr>
          <a:xfrm>
            <a:off x="5724683" y="2521579"/>
            <a:ext cx="419872" cy="4198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21431" tIns="21431" rIns="21431" bIns="21431" anchor="ctr"/>
          <a:lstStyle/>
          <a:p>
            <a:pPr algn="ctr"/>
            <a:r>
              <a:rPr lang="en-US" sz="1400" b="1" dirty="0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1</a:t>
            </a:r>
            <a:endParaRPr sz="1400" b="1" dirty="0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28" name="Circle">
            <a:extLst>
              <a:ext uri="{FF2B5EF4-FFF2-40B4-BE49-F238E27FC236}">
                <a16:creationId xmlns:a16="http://schemas.microsoft.com/office/drawing/2014/main" id="{5ECAF98C-C37F-4512-B8F3-3F453155ED39}"/>
              </a:ext>
            </a:extLst>
          </p:cNvPr>
          <p:cNvSpPr/>
          <p:nvPr/>
        </p:nvSpPr>
        <p:spPr>
          <a:xfrm>
            <a:off x="4800494" y="3054299"/>
            <a:ext cx="419872" cy="4198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21431" tIns="21431" rIns="21431" bIns="21431" anchor="ctr"/>
          <a:lstStyle/>
          <a:p>
            <a:pPr algn="ctr"/>
            <a:r>
              <a:rPr lang="en-US" sz="1400" b="1" dirty="0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6</a:t>
            </a:r>
            <a:endParaRPr sz="1400" b="1" dirty="0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29" name="Circle">
            <a:extLst>
              <a:ext uri="{FF2B5EF4-FFF2-40B4-BE49-F238E27FC236}">
                <a16:creationId xmlns:a16="http://schemas.microsoft.com/office/drawing/2014/main" id="{97CC8B16-E983-42E0-995A-336FC401072D}"/>
              </a:ext>
            </a:extLst>
          </p:cNvPr>
          <p:cNvSpPr/>
          <p:nvPr/>
        </p:nvSpPr>
        <p:spPr>
          <a:xfrm>
            <a:off x="6635870" y="3054299"/>
            <a:ext cx="419872" cy="4198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21431" tIns="21431" rIns="21431" bIns="21431" anchor="ctr"/>
          <a:lstStyle/>
          <a:p>
            <a:pPr algn="ctr"/>
            <a:r>
              <a:rPr lang="en-US" sz="1400" b="1" dirty="0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2</a:t>
            </a:r>
            <a:endParaRPr sz="1400" b="1" dirty="0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38" name="Circle">
            <a:extLst>
              <a:ext uri="{FF2B5EF4-FFF2-40B4-BE49-F238E27FC236}">
                <a16:creationId xmlns:a16="http://schemas.microsoft.com/office/drawing/2014/main" id="{3160E22F-7C69-4BE6-8806-00E7214C8FB5}"/>
              </a:ext>
            </a:extLst>
          </p:cNvPr>
          <p:cNvSpPr/>
          <p:nvPr/>
        </p:nvSpPr>
        <p:spPr>
          <a:xfrm>
            <a:off x="5730890" y="4651352"/>
            <a:ext cx="419872" cy="4198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21431" tIns="21431" rIns="21431" bIns="21431" anchor="ctr"/>
          <a:lstStyle/>
          <a:p>
            <a:pPr algn="ctr"/>
            <a:r>
              <a:rPr lang="en-US" sz="1400" b="1" dirty="0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4</a:t>
            </a:r>
            <a:endParaRPr sz="1400" b="1" dirty="0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39" name="Circle">
            <a:extLst>
              <a:ext uri="{FF2B5EF4-FFF2-40B4-BE49-F238E27FC236}">
                <a16:creationId xmlns:a16="http://schemas.microsoft.com/office/drawing/2014/main" id="{5EC061B0-EC46-4D5E-9F8C-46858BEFB80A}"/>
              </a:ext>
            </a:extLst>
          </p:cNvPr>
          <p:cNvSpPr/>
          <p:nvPr/>
        </p:nvSpPr>
        <p:spPr>
          <a:xfrm>
            <a:off x="4805185" y="4113049"/>
            <a:ext cx="419872" cy="4198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21431" tIns="21431" rIns="21431" bIns="21431" anchor="ctr"/>
          <a:lstStyle/>
          <a:p>
            <a:pPr algn="ctr"/>
            <a:r>
              <a:rPr lang="en-US" sz="1400" b="1" dirty="0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5</a:t>
            </a:r>
            <a:endParaRPr sz="1400" b="1" dirty="0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40" name="Circle">
            <a:extLst>
              <a:ext uri="{FF2B5EF4-FFF2-40B4-BE49-F238E27FC236}">
                <a16:creationId xmlns:a16="http://schemas.microsoft.com/office/drawing/2014/main" id="{35A15814-F724-43AF-AA28-E93477282297}"/>
              </a:ext>
            </a:extLst>
          </p:cNvPr>
          <p:cNvSpPr/>
          <p:nvPr/>
        </p:nvSpPr>
        <p:spPr>
          <a:xfrm>
            <a:off x="6635871" y="4113049"/>
            <a:ext cx="419872" cy="41987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21431" tIns="21431" rIns="21431" bIns="21431" anchor="ctr"/>
          <a:lstStyle/>
          <a:p>
            <a:pPr algn="ctr"/>
            <a:r>
              <a:rPr lang="en-US" sz="1400" b="1" dirty="0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3</a:t>
            </a:r>
            <a:endParaRPr sz="1400" b="1" dirty="0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41" name="TextBox 89">
            <a:extLst>
              <a:ext uri="{FF2B5EF4-FFF2-40B4-BE49-F238E27FC236}">
                <a16:creationId xmlns:a16="http://schemas.microsoft.com/office/drawing/2014/main" id="{2E394DAE-150A-4688-838F-03DA50B8652B}"/>
              </a:ext>
            </a:extLst>
          </p:cNvPr>
          <p:cNvSpPr txBox="1"/>
          <p:nvPr/>
        </p:nvSpPr>
        <p:spPr>
          <a:xfrm>
            <a:off x="4989608" y="5311526"/>
            <a:ext cx="2066133" cy="307777"/>
          </a:xfrm>
          <a:prstGeom prst="rect">
            <a:avLst/>
          </a:prstGeom>
          <a:noFill/>
        </p:spPr>
        <p:txBody>
          <a:bodyPr wrap="square" lIns="0" rIns="0" rtlCol="0" anchor="ctr" anchorCtr="0">
            <a:spAutoFit/>
          </a:bodyPr>
          <a:lstStyle/>
          <a:p>
            <a:pPr algn="just"/>
            <a:endParaRPr lang="fr-FR" sz="1400" b="1" noProof="1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2" name="TextBox 72">
            <a:extLst>
              <a:ext uri="{FF2B5EF4-FFF2-40B4-BE49-F238E27FC236}">
                <a16:creationId xmlns:a16="http://schemas.microsoft.com/office/drawing/2014/main" id="{3B6D3784-4C20-4877-A320-EBC6B67DE1FB}"/>
              </a:ext>
            </a:extLst>
          </p:cNvPr>
          <p:cNvSpPr txBox="1"/>
          <p:nvPr/>
        </p:nvSpPr>
        <p:spPr>
          <a:xfrm>
            <a:off x="5117865" y="3484354"/>
            <a:ext cx="1645920" cy="523220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algn="ctr"/>
            <a:r>
              <a:rPr lang="en-US" sz="1400" b="1" noProof="1" smtClean="0">
                <a:highlight>
                  <a:srgbClr val="FED000"/>
                </a:highlight>
              </a:rPr>
              <a:t>Vision </a:t>
            </a:r>
            <a:endParaRPr lang="en-US" sz="1400" b="1" noProof="1">
              <a:highlight>
                <a:srgbClr val="FED000"/>
              </a:highlight>
            </a:endParaRPr>
          </a:p>
          <a:p>
            <a:pPr algn="ctr"/>
            <a:r>
              <a:rPr lang="en-US" sz="1400" b="1" noProof="1">
                <a:highlight>
                  <a:srgbClr val="FED000"/>
                </a:highlight>
              </a:rPr>
              <a:t>digitale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970735C-DB31-4B2D-884F-907E2E246D10}"/>
              </a:ext>
            </a:extLst>
          </p:cNvPr>
          <p:cNvSpPr/>
          <p:nvPr/>
        </p:nvSpPr>
        <p:spPr>
          <a:xfrm>
            <a:off x="1812052" y="2754330"/>
            <a:ext cx="2771339" cy="598711"/>
          </a:xfrm>
          <a:prstGeom prst="rect">
            <a:avLst/>
          </a:prstGeom>
          <a:solidFill>
            <a:srgbClr val="4159A4"/>
          </a:solidFill>
          <a:ln w="19050">
            <a:solidFill>
              <a:srgbClr val="FFE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51435" rtlCol="0" anchor="ctr" anchorCtr="0"/>
          <a:lstStyle/>
          <a:p>
            <a:pPr algn="ctr"/>
            <a:r>
              <a:rPr lang="fr-FR" sz="1400" b="1" noProof="1" smtClean="0">
                <a:solidFill>
                  <a:schemeClr val="bg1"/>
                </a:solidFill>
              </a:rPr>
              <a:t>Transition Energitique </a:t>
            </a:r>
          </a:p>
          <a:p>
            <a:pPr algn="ctr"/>
            <a:r>
              <a:rPr lang="fr-FR" sz="1400" b="1" noProof="1" smtClean="0">
                <a:solidFill>
                  <a:schemeClr val="bg1"/>
                </a:solidFill>
              </a:rPr>
              <a:t>et développement durable</a:t>
            </a:r>
            <a:endParaRPr lang="fr-FR" sz="1400" b="1" noProof="1">
              <a:solidFill>
                <a:schemeClr val="bg1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0738FDF-E4FE-4F7F-B5FE-8B275AE909FF}"/>
              </a:ext>
            </a:extLst>
          </p:cNvPr>
          <p:cNvSpPr/>
          <p:nvPr/>
        </p:nvSpPr>
        <p:spPr>
          <a:xfrm>
            <a:off x="1782326" y="4053820"/>
            <a:ext cx="2771339" cy="621256"/>
          </a:xfrm>
          <a:prstGeom prst="rect">
            <a:avLst/>
          </a:prstGeom>
          <a:solidFill>
            <a:srgbClr val="4159A4"/>
          </a:solidFill>
          <a:ln w="19050">
            <a:solidFill>
              <a:srgbClr val="FFE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51435" rtlCol="0" anchor="ctr" anchorCtr="0"/>
          <a:lstStyle/>
          <a:p>
            <a:pPr algn="ctr"/>
            <a:r>
              <a:rPr lang="fr-FR" sz="1400" b="1" noProof="1" smtClean="0">
                <a:solidFill>
                  <a:schemeClr val="bg1"/>
                </a:solidFill>
              </a:rPr>
              <a:t>Evolution des usagers </a:t>
            </a:r>
          </a:p>
          <a:p>
            <a:pPr algn="ctr"/>
            <a:r>
              <a:rPr lang="fr-FR" sz="1400" b="1" noProof="1" smtClean="0">
                <a:solidFill>
                  <a:schemeClr val="bg1"/>
                </a:solidFill>
              </a:rPr>
              <a:t>avec le numérique</a:t>
            </a:r>
            <a:endParaRPr lang="fr-FR" sz="1400" b="1" noProof="1">
              <a:solidFill>
                <a:schemeClr val="bg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87CDD05-AAEC-432E-87C4-881BB360DA8C}"/>
              </a:ext>
            </a:extLst>
          </p:cNvPr>
          <p:cNvSpPr/>
          <p:nvPr/>
        </p:nvSpPr>
        <p:spPr>
          <a:xfrm>
            <a:off x="4557931" y="1792873"/>
            <a:ext cx="2520000" cy="540000"/>
          </a:xfrm>
          <a:prstGeom prst="rect">
            <a:avLst/>
          </a:prstGeom>
          <a:solidFill>
            <a:srgbClr val="4159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51435" rtlCol="0" anchor="ctr" anchorCtr="0"/>
          <a:lstStyle/>
          <a:p>
            <a:pPr algn="ctr"/>
            <a:r>
              <a:rPr lang="fr-FR" sz="1400" b="1" noProof="1" smtClean="0">
                <a:solidFill>
                  <a:schemeClr val="bg1"/>
                </a:solidFill>
              </a:rPr>
              <a:t>Simplication et modernisation des services</a:t>
            </a:r>
            <a:endParaRPr lang="fr-FR" sz="1400" b="1" noProof="1">
              <a:solidFill>
                <a:schemeClr val="bg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5D2E14B-C93C-4A97-AEA0-3FB4F171A087}"/>
              </a:ext>
            </a:extLst>
          </p:cNvPr>
          <p:cNvSpPr/>
          <p:nvPr/>
        </p:nvSpPr>
        <p:spPr>
          <a:xfrm>
            <a:off x="7390406" y="2841349"/>
            <a:ext cx="2440388" cy="596944"/>
          </a:xfrm>
          <a:prstGeom prst="rect">
            <a:avLst/>
          </a:prstGeom>
          <a:solidFill>
            <a:srgbClr val="4159A4"/>
          </a:solidFill>
          <a:ln w="19050">
            <a:solidFill>
              <a:srgbClr val="FFE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51435" rtlCol="0" anchor="ctr" anchorCtr="0"/>
          <a:lstStyle/>
          <a:p>
            <a:pPr algn="ctr"/>
            <a:r>
              <a:rPr lang="fr-FR" sz="1400" b="1" noProof="1" smtClean="0">
                <a:solidFill>
                  <a:schemeClr val="bg1"/>
                </a:solidFill>
              </a:rPr>
              <a:t>Développement de l’écosystème et du secteur</a:t>
            </a:r>
            <a:endParaRPr lang="fr-FR" sz="1400" b="1" noProof="1">
              <a:solidFill>
                <a:schemeClr val="bg1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87DE8AF-C5CF-42C9-A946-DF15BC2048DA}"/>
              </a:ext>
            </a:extLst>
          </p:cNvPr>
          <p:cNvSpPr/>
          <p:nvPr/>
        </p:nvSpPr>
        <p:spPr>
          <a:xfrm>
            <a:off x="7429449" y="4229966"/>
            <a:ext cx="2431230" cy="554685"/>
          </a:xfrm>
          <a:prstGeom prst="rect">
            <a:avLst/>
          </a:prstGeom>
          <a:solidFill>
            <a:srgbClr val="4159A4"/>
          </a:solidFill>
          <a:ln w="19050">
            <a:solidFill>
              <a:srgbClr val="FFE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51435" rtlCol="0" anchor="ctr" anchorCtr="0"/>
          <a:lstStyle/>
          <a:p>
            <a:pPr algn="ctr"/>
            <a:r>
              <a:rPr lang="fr-FR" sz="1400" b="1" noProof="1" smtClean="0">
                <a:solidFill>
                  <a:schemeClr val="bg1"/>
                </a:solidFill>
              </a:rPr>
              <a:t>Développement de l’infrastructure </a:t>
            </a:r>
            <a:endParaRPr lang="fr-FR" sz="1400" b="1" noProof="1">
              <a:solidFill>
                <a:schemeClr val="bg1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F3D6D0E3-5B0F-4965-B471-0546618DCE10}"/>
              </a:ext>
            </a:extLst>
          </p:cNvPr>
          <p:cNvSpPr/>
          <p:nvPr/>
        </p:nvSpPr>
        <p:spPr>
          <a:xfrm>
            <a:off x="4557931" y="5388638"/>
            <a:ext cx="3099228" cy="647334"/>
          </a:xfrm>
          <a:prstGeom prst="rect">
            <a:avLst/>
          </a:prstGeom>
          <a:solidFill>
            <a:srgbClr val="4159A4"/>
          </a:solidFill>
          <a:ln w="19050">
            <a:solidFill>
              <a:srgbClr val="FFE3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51435" rtlCol="0" anchor="ctr" anchorCtr="0"/>
          <a:lstStyle/>
          <a:p>
            <a:pPr algn="just"/>
            <a:r>
              <a:rPr lang="fr-FR" sz="1400" b="1" noProof="1" smtClean="0">
                <a:solidFill>
                  <a:schemeClr val="bg1"/>
                </a:solidFill>
              </a:rPr>
              <a:t>Sécurisation et protection des données sensibles tout en favorisant le partage</a:t>
            </a:r>
            <a:endParaRPr lang="fr-FR" sz="1400" b="1" noProof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790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Nr0J7.YkyfyN5kGuT_wg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30</TotalTime>
  <Words>1892</Words>
  <Application>Microsoft Office PowerPoint</Application>
  <PresentationFormat>Grand écran</PresentationFormat>
  <Paragraphs>399</Paragraphs>
  <Slides>41</Slides>
  <Notes>0</Notes>
  <HiddenSlides>0</HiddenSlides>
  <MMClips>3</MMClips>
  <ScaleCrop>false</ScaleCrop>
  <HeadingPairs>
    <vt:vector size="6" baseType="variant">
      <vt:variant>
        <vt:lpstr>Polices utilisées</vt:lpstr>
      </vt:variant>
      <vt:variant>
        <vt:i4>14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41</vt:i4>
      </vt:variant>
    </vt:vector>
  </HeadingPairs>
  <TitlesOfParts>
    <vt:vector size="56" baseType="lpstr">
      <vt:lpstr>Arial Unicode MS</vt:lpstr>
      <vt:lpstr>맑은 고딕</vt:lpstr>
      <vt:lpstr>微软雅黑</vt:lpstr>
      <vt:lpstr>Arial</vt:lpstr>
      <vt:lpstr>Calibri</vt:lpstr>
      <vt:lpstr>Calibri Light</vt:lpstr>
      <vt:lpstr>Century Gothic</vt:lpstr>
      <vt:lpstr>等线</vt:lpstr>
      <vt:lpstr>Garamond</vt:lpstr>
      <vt:lpstr>Noto Sans</vt:lpstr>
      <vt:lpstr>Times</vt:lpstr>
      <vt:lpstr>Times New Roman</vt:lpstr>
      <vt:lpstr>Webdings</vt:lpstr>
      <vt:lpstr>Wingdings</vt:lpstr>
      <vt:lpstr>Thème Offic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TAOUDI EDRISSI NAIMA</dc:creator>
  <cp:lastModifiedBy>TAOUDI  EDRISSI NAIM</cp:lastModifiedBy>
  <cp:revision>154</cp:revision>
  <dcterms:created xsi:type="dcterms:W3CDTF">2022-03-01T13:28:38Z</dcterms:created>
  <dcterms:modified xsi:type="dcterms:W3CDTF">2023-09-25T12:26:52Z</dcterms:modified>
  <cp:contentStatus/>
</cp:coreProperties>
</file>